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6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1"/>
    <p:sldMasterId id="2147484766" r:id="rId2"/>
    <p:sldMasterId id="2147484702" r:id="rId3"/>
    <p:sldMasterId id="2147484292" r:id="rId4"/>
    <p:sldMasterId id="2147484701" r:id="rId5"/>
    <p:sldMasterId id="2147484537" r:id="rId6"/>
    <p:sldMasterId id="2147484799" r:id="rId7"/>
  </p:sldMasterIdLst>
  <p:notesMasterIdLst>
    <p:notesMasterId r:id="rId19"/>
  </p:notesMasterIdLst>
  <p:handoutMasterIdLst>
    <p:handoutMasterId r:id="rId20"/>
  </p:handoutMasterIdLst>
  <p:sldIdLst>
    <p:sldId id="256" r:id="rId8"/>
    <p:sldId id="308" r:id="rId9"/>
    <p:sldId id="309" r:id="rId10"/>
    <p:sldId id="306" r:id="rId11"/>
    <p:sldId id="304" r:id="rId12"/>
    <p:sldId id="262" r:id="rId13"/>
    <p:sldId id="261" r:id="rId14"/>
    <p:sldId id="263" r:id="rId15"/>
    <p:sldId id="265" r:id="rId16"/>
    <p:sldId id="307" r:id="rId17"/>
    <p:sldId id="305" r:id="rId18"/>
  </p:sldIdLst>
  <p:sldSz cx="9144000" cy="5143500" type="screen16x9"/>
  <p:notesSz cx="6858000" cy="9144000"/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" userDrawn="1">
          <p15:clr>
            <a:srgbClr val="A4A3A4"/>
          </p15:clr>
        </p15:guide>
        <p15:guide id="2" pos="295" userDrawn="1">
          <p15:clr>
            <a:srgbClr val="A4A3A4"/>
          </p15:clr>
        </p15:guide>
        <p15:guide id="3" orient="horz" pos="940" userDrawn="1">
          <p15:clr>
            <a:srgbClr val="A4A3A4"/>
          </p15:clr>
        </p15:guide>
        <p15:guide id="4" orient="horz" pos="826" userDrawn="1">
          <p15:clr>
            <a:srgbClr val="A4A3A4"/>
          </p15:clr>
        </p15:guide>
        <p15:guide id="5" pos="2744" userDrawn="1">
          <p15:clr>
            <a:srgbClr val="A4A3A4"/>
          </p15:clr>
        </p15:guide>
        <p15:guide id="6" orient="horz" pos="3026" userDrawn="1">
          <p15:clr>
            <a:srgbClr val="A4A3A4"/>
          </p15:clr>
        </p15:guide>
        <p15:guide id="7" pos="13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8" clrIdx="0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C76F"/>
    <a:srgbClr val="43C46F"/>
    <a:srgbClr val="1A1F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356" autoAdjust="0"/>
    <p:restoredTop sz="94628"/>
  </p:normalViewPr>
  <p:slideViewPr>
    <p:cSldViewPr snapToGrid="0">
      <p:cViewPr varScale="1">
        <p:scale>
          <a:sx n="130" d="100"/>
          <a:sy n="130" d="100"/>
        </p:scale>
        <p:origin x="184" y="656"/>
      </p:cViewPr>
      <p:guideLst>
        <p:guide orient="horz" pos="282"/>
        <p:guide pos="295"/>
        <p:guide orient="horz" pos="940"/>
        <p:guide orient="horz" pos="826"/>
        <p:guide pos="2744"/>
        <p:guide orient="horz" pos="3026"/>
        <p:guide pos="138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77E444-7F5D-48F5-97A1-C970740295D8}" type="datetimeFigureOut">
              <a:rPr lang="ru-RU" smtClean="0"/>
              <a:t>30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65B43D-F543-46FE-A5BA-6395013873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91487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1C8D0-6E9C-4B8E-BAD0-53474A3864E5}" type="datetimeFigureOut">
              <a:rPr lang="ru-RU" smtClean="0"/>
              <a:t>30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34DCB9-6196-4246-922C-DECDD517606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0649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34DCB9-6196-4246-922C-DECDD517606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3291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34DCB9-6196-4246-922C-DECDD517606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8328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34DCB9-6196-4246-922C-DECDD517606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3736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99.xml"/><Relationship Id="rId7" Type="http://schemas.openxmlformats.org/officeDocument/2006/relationships/image" Target="../media/image3.wmf"/><Relationship Id="rId2" Type="http://schemas.openxmlformats.org/officeDocument/2006/relationships/tags" Target="../tags/tag98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Полилиния 55"/>
          <p:cNvSpPr>
            <a:spLocks/>
          </p:cNvSpPr>
          <p:nvPr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>
                <a:solidFill>
                  <a:schemeClr val="bg1"/>
                </a:solidFill>
              </a:rPr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FFFFFF"/>
                </a:solidFill>
              </a:rPr>
              <a:t>Партнеры</a:t>
            </a:r>
            <a:r>
              <a:rPr lang="ru-RU" sz="1100" baseline="0" dirty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/>
              <a:t>Подзаголовок (заполняется по необходимости)</a:t>
            </a:r>
            <a:endParaRPr lang="ru-RU" dirty="0"/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BC204F-B42C-662E-B34D-B5D6387D0E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1E7890F-DE9A-2B4A-EA09-3CF5FB0DA9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1118CCA-5DDB-3D53-B5C9-31F8AB9C7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54789B1-3A0F-585E-931D-838204885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8946F88-75D6-5610-6C33-0D817FB25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52932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9E3022-9316-5AD6-4BEE-48038D822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4FE3A68-E23E-55F2-3F41-A5E6CAC5D4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6F36AE5-C308-CD4A-DDD5-6624D15AD6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372C875-FCE1-B30F-F161-76BEBF06B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6A0CCDE-A477-47B7-6DEE-361CC44FB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01557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E6D6E84-44D2-6D07-BFB6-E6E835015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6B9694B-6192-3FB4-4321-5AB18CF885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0C3C393-5902-1863-213D-7727D8FF6D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8B3581E-2558-ACD1-5FD4-DF5FB593A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3645575-A3FF-FEC5-F3AD-0A0106C8F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882983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821D073-83A3-6B82-F811-A0B07510B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C260F0E-BA41-FE6B-AA0D-4D36DB7715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8C23256-E224-EEC7-B518-52663C95A5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350266D-5990-3EF0-0FE3-6D9AF6B1F9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DD90EC6-4B30-3ED8-841E-DD7FC5013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44BF4CF-3165-8EC1-64E9-3D35E541F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9450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12CB2E-174E-88C5-B8DF-C37693B97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D4EC12A-B3CE-D199-A46A-422E8CE3C0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14F6192-4D2B-E0FE-2A65-ECBD2F4F9F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2FB6C24-12F9-6FF0-A576-5356B0AB00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19395E02-FC79-1D9F-8135-EF6ACDBEC6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C636187-F307-8DDE-D67C-77BFDF469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05DB7BED-46B4-7DA1-3C6C-3E67E3B9E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97160872-C150-99ED-63AA-22AFA207B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536136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D9D9D3-EA62-45B6-09AC-22742021C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0D1C3C42-D9A8-726D-3AA8-51BE8C5317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17E0FD8-980C-3195-2970-DF7277D9A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0853147-D30C-D489-9CCD-B3CBF9599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591623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EEB84F6-16B1-6960-48E6-6902AEFC01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64467DD-B20A-2F7F-CD51-EA5838B6E2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0C07C65-E038-B2A0-B848-244130E1A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640101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0B6319-74F8-6137-B423-84CE093DF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8C1D9AF-9740-3017-F3DE-BD90181927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876B0E1-5164-F361-A56D-BB3748C5C2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F8FD6A5-BE65-0D85-E1A6-C09C1B6C0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361F666-A13D-8A63-DE12-89A7E8BD0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C4CD5A8-3AB4-37F4-B705-C30BA335C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034288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02BFEB-8655-E4BF-6A83-8F9648B18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8FBB021-5CFC-B3F9-D56D-E75CEBFEF4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FACF947-CB68-4B4E-9EBF-9B3947BFF1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1DEC19E-CB26-3289-AAA1-67A35BB62D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328A136-4F0E-92FF-A2EC-7DD436BEB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4B748A9-1988-B197-286E-6F51B2ACE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724033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3E3FC8-2F0C-372C-53D0-EC788043BE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EB1EB59-4842-602E-439C-E6D3D5DF4E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26399CB-6599-A2D0-8795-D45C6D530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E0D5D22-2C60-8195-8F96-8392ADADF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0D680E0-216C-6A07-CA0A-FCB0A5CAC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186378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2AEA0EE-1A33-7146-77F0-C54D53C15B9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9B2ABDC-63FB-78A0-F9D3-EB3DE755AB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1781F95-4942-D42A-1F00-CE1F335996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8124BE8-4A70-2E46-C48E-C87F1D65B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A84BC2-6D59-68C6-C721-3F6DB57F9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577949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ложка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</p:spTree>
    <p:extLst>
      <p:ext uri="{BB962C8B-B14F-4D97-AF65-F5344CB8AC3E}">
        <p14:creationId xmlns:p14="http://schemas.microsoft.com/office/powerpoint/2010/main" val="13563966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8" name="Прямоугольник 57"/>
          <p:cNvSpPr>
            <a:spLocks noChangeAspect="1"/>
          </p:cNvSpPr>
          <p:nvPr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3789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8815069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3752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chemeClr val="bg1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chemeClr val="bg1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chemeClr val="bg1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solidFill>
                <a:schemeClr val="bg1"/>
              </a:solidFill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401384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4093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2084738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5408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275440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40504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48423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7 свой вариа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ложка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</p:spTree>
    <p:extLst>
      <p:ext uri="{BB962C8B-B14F-4D97-AF65-F5344CB8AC3E}">
        <p14:creationId xmlns:p14="http://schemas.microsoft.com/office/powerpoint/2010/main" val="32111330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ложка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</p:spTree>
    <p:extLst>
      <p:ext uri="{BB962C8B-B14F-4D97-AF65-F5344CB8AC3E}">
        <p14:creationId xmlns:p14="http://schemas.microsoft.com/office/powerpoint/2010/main" val="3683653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ложка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</p:spTree>
    <p:extLst>
      <p:ext uri="{BB962C8B-B14F-4D97-AF65-F5344CB8AC3E}">
        <p14:creationId xmlns:p14="http://schemas.microsoft.com/office/powerpoint/2010/main" val="2936928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6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09" name="Google Shape;109;p6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10" name="Google Shape;110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90861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8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2" name="Группа 1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4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ложка 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4" name="Объект 6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7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4" name="Объект 6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Прямоугольник 64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6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2661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/>
              <a:t>Контак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3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vmlDrawing" Target="../drawings/vmlDrawing32.v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3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60.xml"/><Relationship Id="rId34" Type="http://schemas.openxmlformats.org/officeDocument/2006/relationships/tags" Target="../tags/tag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vmlDrawing" Target="../drawings/vmlDrawing40.v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theme" Target="../theme/theme3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oleObject" Target="../embeddings/oleObject40.bin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tags" Target="../tags/tag43.xml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vmlDrawing" Target="../drawings/vmlDrawing70.v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oleObject" Target="../embeddings/oleObject70.bin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tags" Target="../tags/tag74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tags" Target="../tags/tag73.x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oleObject" Target="../embeddings/oleObject96.bin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ags" Target="../tags/tag101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tags" Target="../tags/tag100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5.vml"/><Relationship Id="rId4" Type="http://schemas.openxmlformats.org/officeDocument/2006/relationships/slideLayout" Target="../slideLayouts/slideLayout98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slideLayout" Target="../slideLayouts/slideLayout128.xml"/><Relationship Id="rId39" Type="http://schemas.openxmlformats.org/officeDocument/2006/relationships/slideLayout" Target="../slideLayouts/slideLayout141.xml"/><Relationship Id="rId21" Type="http://schemas.openxmlformats.org/officeDocument/2006/relationships/slideLayout" Target="../slideLayouts/slideLayout123.xml"/><Relationship Id="rId34" Type="http://schemas.openxmlformats.org/officeDocument/2006/relationships/slideLayout" Target="../slideLayouts/slideLayout136.xml"/><Relationship Id="rId42" Type="http://schemas.openxmlformats.org/officeDocument/2006/relationships/slideLayout" Target="../slideLayouts/slideLayout144.xml"/><Relationship Id="rId47" Type="http://schemas.openxmlformats.org/officeDocument/2006/relationships/tags" Target="../tags/tag104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32" Type="http://schemas.openxmlformats.org/officeDocument/2006/relationships/slideLayout" Target="../slideLayouts/slideLayout134.xml"/><Relationship Id="rId37" Type="http://schemas.openxmlformats.org/officeDocument/2006/relationships/slideLayout" Target="../slideLayouts/slideLayout139.xml"/><Relationship Id="rId40" Type="http://schemas.openxmlformats.org/officeDocument/2006/relationships/slideLayout" Target="../slideLayouts/slideLayout142.xml"/><Relationship Id="rId45" Type="http://schemas.openxmlformats.org/officeDocument/2006/relationships/vmlDrawing" Target="../drawings/vmlDrawing97.v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slideLayout" Target="../slideLayouts/slideLayout130.xml"/><Relationship Id="rId36" Type="http://schemas.openxmlformats.org/officeDocument/2006/relationships/slideLayout" Target="../slideLayouts/slideLayout138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31" Type="http://schemas.openxmlformats.org/officeDocument/2006/relationships/slideLayout" Target="../slideLayouts/slideLayout133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slideLayout" Target="../slideLayouts/slideLayout129.xml"/><Relationship Id="rId30" Type="http://schemas.openxmlformats.org/officeDocument/2006/relationships/slideLayout" Target="../slideLayouts/slideLayout132.xml"/><Relationship Id="rId35" Type="http://schemas.openxmlformats.org/officeDocument/2006/relationships/slideLayout" Target="../slideLayouts/slideLayout137.xml"/><Relationship Id="rId43" Type="http://schemas.openxmlformats.org/officeDocument/2006/relationships/slideLayout" Target="../slideLayouts/slideLayout145.xml"/><Relationship Id="rId48" Type="http://schemas.openxmlformats.org/officeDocument/2006/relationships/oleObject" Target="../embeddings/oleObject98.bin"/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33" Type="http://schemas.openxmlformats.org/officeDocument/2006/relationships/slideLayout" Target="../slideLayouts/slideLayout135.xml"/><Relationship Id="rId38" Type="http://schemas.openxmlformats.org/officeDocument/2006/relationships/slideLayout" Target="../slideLayouts/slideLayout140.xml"/><Relationship Id="rId46" Type="http://schemas.openxmlformats.org/officeDocument/2006/relationships/tags" Target="../tags/tag103.xml"/><Relationship Id="rId20" Type="http://schemas.openxmlformats.org/officeDocument/2006/relationships/slideLayout" Target="../slideLayouts/slideLayout122.xml"/><Relationship Id="rId41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A1F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Слайд think-cell" r:id="rId35" imgW="270" imgH="270" progId="TCLayout.ActiveDocument.1">
                  <p:embed/>
                </p:oleObj>
              </mc:Choice>
              <mc:Fallback>
                <p:oleObj name="Слайд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4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  <p:sldLayoutId id="2147484775" r:id="rId26"/>
    <p:sldLayoutId id="2147484776" r:id="rId27"/>
    <p:sldLayoutId id="2147484777" r:id="rId28"/>
    <p:sldLayoutId id="2147484774" r:id="rId29"/>
    <p:sldLayoutId id="2147484778" r:id="rId30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3840">
          <p15:clr>
            <a:srgbClr val="F26B43"/>
          </p15:clr>
        </p15:guide>
        <p15:guide id="8" pos="1920">
          <p15:clr>
            <a:srgbClr val="F26B43"/>
          </p15:clr>
        </p15:guide>
        <p15:guide id="9" pos="4800">
          <p15:clr>
            <a:srgbClr val="F26B43"/>
          </p15:clr>
        </p15:guide>
        <p15:guide id="10" pos="960">
          <p15:clr>
            <a:srgbClr val="F26B43"/>
          </p15:clr>
        </p15:guide>
        <p15:guide id="11" pos="2880">
          <p15:clr>
            <a:srgbClr val="F26B43"/>
          </p15:clr>
        </p15:guide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A1F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4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  <p:sldLayoutId id="2147484780" r:id="rId8"/>
    <p:sldLayoutId id="2147484781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A1F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4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6" name="Слайд think-cell" r:id="rId36" imgW="270" imgH="270" progId="TCLayout.ActiveDocument.1">
                  <p:embed/>
                </p:oleObj>
              </mc:Choice>
              <mc:Fallback>
                <p:oleObj name="Слайд think-cell" r:id="rId3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  <p:sldLayoutId id="2147484797" r:id="rId30"/>
    <p:sldLayoutId id="2147484798" r:id="rId3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A1F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6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779" r:id="rId2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A1F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6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A1F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84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2" name="Группа 31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915">
          <p15:clr>
            <a:srgbClr val="F26B43"/>
          </p15:clr>
        </p15:guide>
        <p15:guide id="13" orient="horz" pos="645">
          <p15:clr>
            <a:srgbClr val="F26B43"/>
          </p15:clr>
        </p15:guide>
        <p15:guide id="14" orient="horz" pos="96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F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717E5C-CF02-3A70-A83C-85503B157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30DFB73-8AAB-F0D2-3775-35F466A718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011CBE7-1F75-5591-D781-58D0B682ED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A5B6A3F-FF14-3568-471A-255E1EF342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B87C99-63E4-FDC3-CEBB-BD674DD7F6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3247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0" r:id="rId1"/>
    <p:sldLayoutId id="2147484801" r:id="rId2"/>
    <p:sldLayoutId id="2147484802" r:id="rId3"/>
    <p:sldLayoutId id="2147484803" r:id="rId4"/>
    <p:sldLayoutId id="2147484804" r:id="rId5"/>
    <p:sldLayoutId id="2147484805" r:id="rId6"/>
    <p:sldLayoutId id="2147484806" r:id="rId7"/>
    <p:sldLayoutId id="2147484807" r:id="rId8"/>
    <p:sldLayoutId id="2147484808" r:id="rId9"/>
    <p:sldLayoutId id="2147484809" r:id="rId10"/>
    <p:sldLayoutId id="2147484810" r:id="rId11"/>
    <p:sldLayoutId id="2147484811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57.xml"/><Relationship Id="rId6" Type="http://schemas.openxmlformats.org/officeDocument/2006/relationships/image" Target="../media/image27.jpg"/><Relationship Id="rId5" Type="http://schemas.openxmlformats.org/officeDocument/2006/relationships/image" Target="../media/image26.png"/><Relationship Id="rId4" Type="http://schemas.openxmlformats.org/officeDocument/2006/relationships/image" Target="../media/image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12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8.sv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7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7.xml"/><Relationship Id="rId5" Type="http://schemas.openxmlformats.org/officeDocument/2006/relationships/image" Target="../media/image24.png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8186D-CBE8-9343-98A2-B22CA1B2BE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9854" y="2028944"/>
            <a:ext cx="7233335" cy="1790700"/>
          </a:xfrm>
        </p:spPr>
        <p:txBody>
          <a:bodyPr>
            <a:normAutofit/>
          </a:bodyPr>
          <a:lstStyle/>
          <a:p>
            <a:pPr algn="l"/>
            <a:r>
              <a:rPr lang="ru-RU" sz="4200" b="1" dirty="0">
                <a:solidFill>
                  <a:schemeClr val="bg1"/>
                </a:solidFill>
                <a:latin typeface="IBM Plex Mono" panose="020B0509050203000203" pitchFamily="49" charset="-52"/>
              </a:rPr>
              <a:t>Дата-каталог </a:t>
            </a:r>
            <a:r>
              <a:rPr lang="ru-RU" sz="4000" b="1" dirty="0">
                <a:solidFill>
                  <a:srgbClr val="42C76F"/>
                </a:solidFill>
                <a:latin typeface="IBM Plex Mono" panose="020B0509050203000203" pitchFamily="49" charset="-52"/>
              </a:rPr>
              <a:t>как единая точка входа в дата-платформу</a:t>
            </a:r>
          </a:p>
        </p:txBody>
      </p:sp>
      <p:pic>
        <p:nvPicPr>
          <p:cNvPr id="8" name="Рисунок 2" descr="Изображение выглядит как символ, логотип, Графика, Шрифт&#10;&#10;Автоматически созданное описание">
            <a:extLst>
              <a:ext uri="{FF2B5EF4-FFF2-40B4-BE49-F238E27FC236}">
                <a16:creationId xmlns:a16="http://schemas.microsoft.com/office/drawing/2014/main" id="{8E6FC3B1-C6C4-754A-811E-8F5E1AC666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984" y="1754058"/>
            <a:ext cx="564823" cy="564823"/>
          </a:xfrm>
          <a:prstGeom prst="rect">
            <a:avLst/>
          </a:prstGeom>
        </p:spPr>
      </p:pic>
      <p:pic>
        <p:nvPicPr>
          <p:cNvPr id="10" name="Рисунок 4">
            <a:extLst>
              <a:ext uri="{FF2B5EF4-FFF2-40B4-BE49-F238E27FC236}">
                <a16:creationId xmlns:a16="http://schemas.microsoft.com/office/drawing/2014/main" id="{9B5F217A-3BE1-7249-9AC5-8282CA69AE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6538" r="40774"/>
          <a:stretch/>
        </p:blipFill>
        <p:spPr>
          <a:xfrm>
            <a:off x="3862552" y="0"/>
            <a:ext cx="5281448" cy="4767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075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81FFF68-3BA8-5543-9462-F374CA582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47675"/>
            <a:ext cx="7886700" cy="994172"/>
          </a:xfrm>
        </p:spPr>
        <p:txBody>
          <a:bodyPr vert="horz" lIns="91440" tIns="45720" rIns="91440" bIns="45720" rtlCol="0" anchor="t">
            <a:normAutofit fontScale="90000"/>
          </a:bodyPr>
          <a:lstStyle/>
          <a:p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Основные достижения на текущий момент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B0474F2-11EF-AD4D-8697-4F52CCA25E39}"/>
              </a:ext>
            </a:extLst>
          </p:cNvPr>
          <p:cNvSpPr/>
          <p:nvPr/>
        </p:nvSpPr>
        <p:spPr>
          <a:xfrm>
            <a:off x="464325" y="1492250"/>
            <a:ext cx="714080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Сокращение времени доступа к данным </a:t>
            </a:r>
            <a:r>
              <a:rPr lang="ru-RU" sz="1800" dirty="0">
                <a:solidFill>
                  <a:srgbClr val="42C76F"/>
                </a:solidFill>
                <a:latin typeface="IBM PLEX MONO" panose="020B0509050203000203" pitchFamily="49" charset="-52"/>
              </a:rPr>
              <a:t>с 20 </a:t>
            </a:r>
            <a:r>
              <a:rPr lang="ru-RU" sz="1800" dirty="0" err="1">
                <a:solidFill>
                  <a:srgbClr val="42C76F"/>
                </a:solidFill>
                <a:latin typeface="IBM PLEX MONO" panose="020B0509050203000203" pitchFamily="49" charset="-52"/>
              </a:rPr>
              <a:t>р.д</a:t>
            </a:r>
            <a:r>
              <a:rPr lang="ru-RU" sz="1800" dirty="0">
                <a:solidFill>
                  <a:srgbClr val="42C76F"/>
                </a:solidFill>
                <a:latin typeface="IBM PLEX MONO" panose="020B0509050203000203" pitchFamily="49" charset="-52"/>
              </a:rPr>
              <a:t>. до 15 минут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Исключение «рук» из раскатки ролевой модели </a:t>
            </a:r>
            <a:r>
              <a:rPr lang="ru-RU" sz="1800" dirty="0">
                <a:solidFill>
                  <a:srgbClr val="42C76F"/>
                </a:solidFill>
                <a:latin typeface="IBM PLEX MONO" panose="020B0509050203000203" pitchFamily="49" charset="-52"/>
              </a:rPr>
              <a:t>с 2,5 </a:t>
            </a:r>
            <a:r>
              <a:rPr lang="ru-RU" sz="1800" dirty="0" err="1">
                <a:solidFill>
                  <a:srgbClr val="42C76F"/>
                </a:solidFill>
                <a:latin typeface="IBM PLEX MONO" panose="020B0509050203000203" pitchFamily="49" charset="-52"/>
              </a:rPr>
              <a:t>р.д</a:t>
            </a:r>
            <a:r>
              <a:rPr lang="ru-RU" sz="1800" dirty="0">
                <a:solidFill>
                  <a:srgbClr val="42C76F"/>
                </a:solidFill>
                <a:latin typeface="IBM PLEX MONO" panose="020B0509050203000203" pitchFamily="49" charset="-52"/>
              </a:rPr>
              <a:t>. до  1,5 часа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Автоматизация создания </a:t>
            </a:r>
            <a:r>
              <a:rPr lang="en-US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DDS</a:t>
            </a: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ru-RU" sz="1800" dirty="0">
                <a:solidFill>
                  <a:srgbClr val="42C76F"/>
                </a:solidFill>
                <a:latin typeface="IBM PLEX MONO" panose="020B0509050203000203" pitchFamily="49" charset="-52"/>
              </a:rPr>
              <a:t>с 15 </a:t>
            </a:r>
            <a:r>
              <a:rPr lang="ru-RU" sz="1800" dirty="0" err="1">
                <a:solidFill>
                  <a:srgbClr val="42C76F"/>
                </a:solidFill>
                <a:latin typeface="IBM PLEX MONO" panose="020B0509050203000203" pitchFamily="49" charset="-52"/>
              </a:rPr>
              <a:t>р.д</a:t>
            </a:r>
            <a:r>
              <a:rPr lang="ru-RU" sz="1800" dirty="0">
                <a:solidFill>
                  <a:srgbClr val="42C76F"/>
                </a:solidFill>
                <a:latin typeface="IBM PLEX MONO" panose="020B0509050203000203" pitchFamily="49" charset="-52"/>
              </a:rPr>
              <a:t>. до 1 </a:t>
            </a:r>
            <a:r>
              <a:rPr lang="ru-RU" sz="1800" dirty="0" err="1">
                <a:solidFill>
                  <a:srgbClr val="42C76F"/>
                </a:solidFill>
                <a:latin typeface="IBM PLEX MONO" panose="020B0509050203000203" pitchFamily="49" charset="-52"/>
              </a:rPr>
              <a:t>р.д</a:t>
            </a:r>
            <a:r>
              <a:rPr lang="ru-RU" sz="1800" dirty="0">
                <a:solidFill>
                  <a:srgbClr val="42C76F"/>
                </a:solidFill>
                <a:latin typeface="IBM PLEX MONO" panose="020B0509050203000203" pitchFamily="49" charset="-52"/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endParaRPr lang="ru-RU" sz="1800" dirty="0">
              <a:solidFill>
                <a:schemeClr val="bg1"/>
              </a:solidFill>
              <a:latin typeface="IBM PLEX MONO" panose="020B0509050203000203" pitchFamily="49" charset="-52"/>
            </a:endParaRPr>
          </a:p>
          <a:p>
            <a:endParaRPr lang="ru-RU" sz="1800" dirty="0">
              <a:solidFill>
                <a:schemeClr val="bg1"/>
              </a:solidFill>
              <a:latin typeface="IBM PLEX MONO" panose="020B0509050203000203" pitchFamily="49" charset="-52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B8A219-60D8-0942-A34C-3E988480BE59}"/>
              </a:ext>
            </a:extLst>
          </p:cNvPr>
          <p:cNvSpPr txBox="1"/>
          <p:nvPr/>
        </p:nvSpPr>
        <p:spPr>
          <a:xfrm>
            <a:off x="8798198" y="4755754"/>
            <a:ext cx="38023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42C76F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5270891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6B5CFDE-C530-2B45-8A84-4744681915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44" r="13093"/>
          <a:stretch/>
        </p:blipFill>
        <p:spPr>
          <a:xfrm>
            <a:off x="1300664" y="693480"/>
            <a:ext cx="2273644" cy="2266950"/>
          </a:xfrm>
          <a:prstGeom prst="ellipse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7B6A5B34-C6A1-D74B-AA5E-8F89309987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59246" y="251616"/>
            <a:ext cx="392117" cy="39211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2568695-9B49-6B47-9CB3-A085B5B16A84}"/>
              </a:ext>
            </a:extLst>
          </p:cNvPr>
          <p:cNvSpPr/>
          <p:nvPr/>
        </p:nvSpPr>
        <p:spPr>
          <a:xfrm>
            <a:off x="686780" y="2960429"/>
            <a:ext cx="366932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300" b="1" dirty="0" err="1">
                <a:solidFill>
                  <a:srgbClr val="42C76F"/>
                </a:solidFill>
                <a:latin typeface="IBM Plex Mono" panose="020B0509050203000203" pitchFamily="49" charset="-52"/>
              </a:rPr>
              <a:t>Шокуров</a:t>
            </a:r>
            <a:r>
              <a:rPr lang="ru-RU" sz="3300" b="1" dirty="0">
                <a:solidFill>
                  <a:srgbClr val="42C76F"/>
                </a:solidFill>
                <a:latin typeface="IBM Plex Mono" panose="020B0509050203000203" pitchFamily="49" charset="-52"/>
              </a:rPr>
              <a:t> Алексей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86F62F-5DB3-E14B-97BC-B02C37BA6912}"/>
              </a:ext>
            </a:extLst>
          </p:cNvPr>
          <p:cNvSpPr txBox="1"/>
          <p:nvPr/>
        </p:nvSpPr>
        <p:spPr>
          <a:xfrm>
            <a:off x="1051452" y="3560593"/>
            <a:ext cx="130362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@</a:t>
            </a:r>
            <a:r>
              <a:rPr lang="en-US" dirty="0" err="1">
                <a:solidFill>
                  <a:schemeClr val="bg1"/>
                </a:solidFill>
              </a:rPr>
              <a:t>al_shokurov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D4BE71-A94A-5641-9E2D-F375F676FC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385" y="3613691"/>
            <a:ext cx="270067" cy="2700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EAEAA95-DBA9-DB4D-9E4B-5417F1692DC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171" r="2445" b="-1"/>
          <a:stretch/>
        </p:blipFill>
        <p:spPr>
          <a:xfrm>
            <a:off x="5500146" y="1140541"/>
            <a:ext cx="2886770" cy="2907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7870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C9B830B-0567-D441-AD97-B5AB651A39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47675"/>
            <a:ext cx="7886700" cy="863600"/>
          </a:xfrm>
        </p:spPr>
        <p:txBody>
          <a:bodyPr anchor="t">
            <a:normAutofit fontScale="90000"/>
          </a:bodyPr>
          <a:lstStyle/>
          <a:p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Что такое дата-платформа</a:t>
            </a:r>
            <a:r>
              <a:rPr lang="en-US" b="1" dirty="0">
                <a:solidFill>
                  <a:srgbClr val="42C76F"/>
                </a:solidFill>
                <a:latin typeface="IBM Plex Mono" panose="020B0509050203000203" pitchFamily="49" charset="-52"/>
              </a:rPr>
              <a:t> </a:t>
            </a:r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и что еще бывает?</a:t>
            </a:r>
          </a:p>
        </p:txBody>
      </p:sp>
      <p:sp>
        <p:nvSpPr>
          <p:cNvPr id="67" name="Прямоугольник 41">
            <a:extLst>
              <a:ext uri="{FF2B5EF4-FFF2-40B4-BE49-F238E27FC236}">
                <a16:creationId xmlns:a16="http://schemas.microsoft.com/office/drawing/2014/main" id="{3381EF74-F7F4-EB4F-A561-338E29A8C368}"/>
              </a:ext>
            </a:extLst>
          </p:cNvPr>
          <p:cNvSpPr/>
          <p:nvPr/>
        </p:nvSpPr>
        <p:spPr>
          <a:xfrm>
            <a:off x="2437796" y="1745724"/>
            <a:ext cx="360040" cy="19802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2785DF8-EDCD-9049-93E6-2B1ED169CF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59246" y="251616"/>
            <a:ext cx="392117" cy="39211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427DD34-6191-AC49-94C8-CB20E2FDF9EC}"/>
              </a:ext>
            </a:extLst>
          </p:cNvPr>
          <p:cNvSpPr txBox="1"/>
          <p:nvPr/>
        </p:nvSpPr>
        <p:spPr>
          <a:xfrm>
            <a:off x="573063" y="1704814"/>
            <a:ext cx="87934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Загрузка</a:t>
            </a:r>
          </a:p>
        </p:txBody>
      </p:sp>
      <p:sp>
        <p:nvSpPr>
          <p:cNvPr id="13" name="Прямоугольник 2">
            <a:extLst>
              <a:ext uri="{FF2B5EF4-FFF2-40B4-BE49-F238E27FC236}">
                <a16:creationId xmlns:a16="http://schemas.microsoft.com/office/drawing/2014/main" id="{4FA3671C-BCF5-A843-A854-81615A71F0D5}"/>
              </a:ext>
            </a:extLst>
          </p:cNvPr>
          <p:cNvSpPr/>
          <p:nvPr/>
        </p:nvSpPr>
        <p:spPr>
          <a:xfrm>
            <a:off x="2217417" y="1135972"/>
            <a:ext cx="64973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4300" indent="0">
              <a:buNone/>
            </a:pPr>
            <a:r>
              <a:rPr lang="en-US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Lake</a:t>
            </a:r>
            <a:endParaRPr lang="ru-RU" dirty="0">
              <a:solidFill>
                <a:schemeClr val="bg1"/>
              </a:solidFill>
              <a:latin typeface="Roboto Slab" pitchFamily="2" charset="0"/>
              <a:ea typeface="Roboto Slab" pitchFamily="2" charset="0"/>
            </a:endParaRPr>
          </a:p>
        </p:txBody>
      </p:sp>
      <p:cxnSp>
        <p:nvCxnSpPr>
          <p:cNvPr id="14" name="Прямая соединительная линия 12">
            <a:extLst>
              <a:ext uri="{FF2B5EF4-FFF2-40B4-BE49-F238E27FC236}">
                <a16:creationId xmlns:a16="http://schemas.microsoft.com/office/drawing/2014/main" id="{23AF9223-90EF-1C46-88E0-7C28C8AAF547}"/>
              </a:ext>
            </a:extLst>
          </p:cNvPr>
          <p:cNvCxnSpPr/>
          <p:nvPr/>
        </p:nvCxnSpPr>
        <p:spPr>
          <a:xfrm flipV="1">
            <a:off x="695008" y="1612224"/>
            <a:ext cx="4536504" cy="2981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4">
            <a:extLst>
              <a:ext uri="{FF2B5EF4-FFF2-40B4-BE49-F238E27FC236}">
                <a16:creationId xmlns:a16="http://schemas.microsoft.com/office/drawing/2014/main" id="{8002448D-D316-864B-B2F9-6ECA1DB63DAE}"/>
              </a:ext>
            </a:extLst>
          </p:cNvPr>
          <p:cNvSpPr/>
          <p:nvPr/>
        </p:nvSpPr>
        <p:spPr>
          <a:xfrm>
            <a:off x="3021861" y="1132992"/>
            <a:ext cx="975523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4300" indent="0">
              <a:buNone/>
            </a:pPr>
            <a:r>
              <a:rPr lang="en-US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Platform</a:t>
            </a:r>
            <a:endParaRPr lang="ru-RU" dirty="0">
              <a:solidFill>
                <a:schemeClr val="bg1"/>
              </a:solidFill>
              <a:latin typeface="Roboto Slab" pitchFamily="2" charset="0"/>
              <a:ea typeface="Roboto Slab" pitchFamily="2" charset="0"/>
            </a:endParaRPr>
          </a:p>
        </p:txBody>
      </p:sp>
      <p:sp>
        <p:nvSpPr>
          <p:cNvPr id="17" name="Прямоугольник 15">
            <a:extLst>
              <a:ext uri="{FF2B5EF4-FFF2-40B4-BE49-F238E27FC236}">
                <a16:creationId xmlns:a16="http://schemas.microsoft.com/office/drawing/2014/main" id="{69EFF2A8-7A8D-7347-97D9-0AEDB0F544A2}"/>
              </a:ext>
            </a:extLst>
          </p:cNvPr>
          <p:cNvSpPr/>
          <p:nvPr/>
        </p:nvSpPr>
        <p:spPr>
          <a:xfrm>
            <a:off x="782491" y="1144268"/>
            <a:ext cx="545983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Data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697AB6C-EC7A-464D-9C9B-A79D953643D3}"/>
              </a:ext>
            </a:extLst>
          </p:cNvPr>
          <p:cNvSpPr/>
          <p:nvPr/>
        </p:nvSpPr>
        <p:spPr>
          <a:xfrm>
            <a:off x="3920685" y="1132991"/>
            <a:ext cx="119173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4300" indent="0">
              <a:buNone/>
            </a:pPr>
            <a:r>
              <a:rPr lang="en-US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Warehouse</a:t>
            </a:r>
            <a:endParaRPr lang="ru-RU" dirty="0">
              <a:solidFill>
                <a:schemeClr val="bg1"/>
              </a:solidFill>
              <a:latin typeface="Roboto Slab" pitchFamily="2" charset="0"/>
              <a:ea typeface="Roboto Slab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43AD96-F0BC-A442-8F40-253579190C4C}"/>
              </a:ext>
            </a:extLst>
          </p:cNvPr>
          <p:cNvSpPr txBox="1"/>
          <p:nvPr/>
        </p:nvSpPr>
        <p:spPr>
          <a:xfrm>
            <a:off x="550992" y="2189702"/>
            <a:ext cx="106048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Обработка</a:t>
            </a:r>
          </a:p>
        </p:txBody>
      </p:sp>
      <p:sp>
        <p:nvSpPr>
          <p:cNvPr id="20" name="Текст 7">
            <a:extLst>
              <a:ext uri="{FF2B5EF4-FFF2-40B4-BE49-F238E27FC236}">
                <a16:creationId xmlns:a16="http://schemas.microsoft.com/office/drawing/2014/main" id="{7F26BB99-079E-2D45-96F7-E718A34986EA}"/>
              </a:ext>
            </a:extLst>
          </p:cNvPr>
          <p:cNvSpPr txBox="1">
            <a:spLocks/>
          </p:cNvSpPr>
          <p:nvPr/>
        </p:nvSpPr>
        <p:spPr>
          <a:xfrm>
            <a:off x="364681" y="2458761"/>
            <a:ext cx="1800200" cy="25518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285750"/>
            <a:r>
              <a:rPr lang="ru-RU" sz="1200" dirty="0">
                <a:solidFill>
                  <a:schemeClr val="bg1"/>
                </a:solidFill>
              </a:rPr>
              <a:t>Расшифровка</a:t>
            </a:r>
          </a:p>
          <a:p>
            <a:pPr marL="400050" indent="-285750"/>
            <a:r>
              <a:rPr lang="ru-RU" sz="1200" dirty="0" err="1">
                <a:solidFill>
                  <a:schemeClr val="bg1"/>
                </a:solidFill>
              </a:rPr>
              <a:t>Дедупликация</a:t>
            </a:r>
            <a:r>
              <a:rPr lang="ru-RU" sz="1200" dirty="0">
                <a:solidFill>
                  <a:schemeClr val="bg1"/>
                </a:solidFill>
              </a:rPr>
              <a:t>, </a:t>
            </a:r>
            <a:r>
              <a:rPr lang="en-US" sz="1200" dirty="0">
                <a:solidFill>
                  <a:schemeClr val="bg1"/>
                </a:solidFill>
              </a:rPr>
              <a:t>QA</a:t>
            </a:r>
            <a:endParaRPr lang="ru-RU" sz="1200" dirty="0">
              <a:solidFill>
                <a:schemeClr val="bg1"/>
              </a:solidFill>
            </a:endParaRPr>
          </a:p>
          <a:p>
            <a:pPr marL="400050" indent="-285750"/>
            <a:r>
              <a:rPr lang="ru-RU" sz="1200" dirty="0">
                <a:solidFill>
                  <a:schemeClr val="bg1"/>
                </a:solidFill>
              </a:rPr>
              <a:t>Унификация</a:t>
            </a:r>
          </a:p>
          <a:p>
            <a:pPr marL="400050" indent="-285750"/>
            <a:r>
              <a:rPr lang="ru-RU" sz="1200" dirty="0">
                <a:solidFill>
                  <a:schemeClr val="bg1"/>
                </a:solidFill>
              </a:rPr>
              <a:t>Интеграция (обеспечение целостности)</a:t>
            </a:r>
          </a:p>
          <a:p>
            <a:pPr marL="114300" indent="0">
              <a:buFont typeface="Arial" panose="020B0604020202020204" pitchFamily="34" charset="0"/>
              <a:buNone/>
            </a:pPr>
            <a:endParaRPr lang="ru-RU" sz="1200" dirty="0">
              <a:solidFill>
                <a:schemeClr val="bg1"/>
              </a:solidFill>
            </a:endParaRPr>
          </a:p>
          <a:p>
            <a:pPr marL="400050" indent="-285750"/>
            <a:r>
              <a:rPr lang="ru-RU" sz="1200" dirty="0">
                <a:solidFill>
                  <a:schemeClr val="bg1"/>
                </a:solidFill>
              </a:rPr>
              <a:t>Стандартизация запросов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C084C1-701E-574C-A305-FC75AAFF5095}"/>
              </a:ext>
            </a:extLst>
          </p:cNvPr>
          <p:cNvSpPr txBox="1"/>
          <p:nvPr/>
        </p:nvSpPr>
        <p:spPr>
          <a:xfrm>
            <a:off x="623000" y="3892540"/>
            <a:ext cx="121052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Интерфейсы</a:t>
            </a:r>
          </a:p>
        </p:txBody>
      </p:sp>
      <p:sp>
        <p:nvSpPr>
          <p:cNvPr id="54" name="Текст 7">
            <a:extLst>
              <a:ext uri="{FF2B5EF4-FFF2-40B4-BE49-F238E27FC236}">
                <a16:creationId xmlns:a16="http://schemas.microsoft.com/office/drawing/2014/main" id="{53C53E45-CCCD-9149-A65C-418F9944F1D6}"/>
              </a:ext>
            </a:extLst>
          </p:cNvPr>
          <p:cNvSpPr txBox="1">
            <a:spLocks/>
          </p:cNvSpPr>
          <p:nvPr/>
        </p:nvSpPr>
        <p:spPr>
          <a:xfrm>
            <a:off x="5295530" y="1374709"/>
            <a:ext cx="3649548" cy="32155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285750"/>
            <a:r>
              <a:rPr lang="ru-RU" sz="1600" dirty="0">
                <a:solidFill>
                  <a:srgbClr val="42C76F"/>
                </a:solidFill>
                <a:latin typeface="Roboto Slab" pitchFamily="2" charset="0"/>
                <a:ea typeface="Roboto Slab" pitchFamily="2" charset="0"/>
              </a:rPr>
              <a:t>Озеро</a:t>
            </a:r>
            <a:r>
              <a:rPr lang="ru-RU" sz="1400" b="1" dirty="0">
                <a:solidFill>
                  <a:schemeClr val="bg1"/>
                </a:solidFill>
              </a:rPr>
              <a:t> – </a:t>
            </a:r>
            <a:r>
              <a:rPr lang="ru-RU" sz="1400" dirty="0">
                <a:solidFill>
                  <a:schemeClr val="bg1"/>
                </a:solidFill>
              </a:rPr>
              <a:t>много грузим, но мало обрабатываем. Дорого </a:t>
            </a:r>
            <a:r>
              <a:rPr lang="ru-RU" sz="1400" i="1" dirty="0">
                <a:solidFill>
                  <a:schemeClr val="bg1"/>
                </a:solidFill>
              </a:rPr>
              <a:t>анализировать</a:t>
            </a:r>
            <a:r>
              <a:rPr lang="ru-RU" sz="1400" dirty="0">
                <a:solidFill>
                  <a:schemeClr val="bg1"/>
                </a:solidFill>
              </a:rPr>
              <a:t>. Есть риск получить болото.</a:t>
            </a:r>
            <a:endParaRPr lang="ru-RU" sz="1400" b="1" dirty="0">
              <a:solidFill>
                <a:schemeClr val="bg1"/>
              </a:solidFill>
            </a:endParaRPr>
          </a:p>
          <a:p>
            <a:pPr marL="400050" indent="-285750"/>
            <a:r>
              <a:rPr lang="ru-RU" sz="1600" dirty="0">
                <a:solidFill>
                  <a:srgbClr val="42C76F"/>
                </a:solidFill>
                <a:latin typeface="Roboto Slab" pitchFamily="2" charset="0"/>
                <a:ea typeface="Roboto Slab" pitchFamily="2" charset="0"/>
              </a:rPr>
              <a:t>Платформа</a:t>
            </a:r>
            <a:r>
              <a:rPr lang="ru-RU" sz="1400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– </a:t>
            </a:r>
            <a:r>
              <a:rPr lang="ru-RU" sz="1400" dirty="0">
                <a:solidFill>
                  <a:schemeClr val="bg1"/>
                </a:solidFill>
              </a:rPr>
              <a:t>предварительная  обработка всё-таки производится, но данные не реинтегрируются (не проверяется, что все в единой модели). Дороже </a:t>
            </a:r>
            <a:r>
              <a:rPr lang="ru-RU" sz="1400" i="1" dirty="0">
                <a:solidFill>
                  <a:schemeClr val="bg1"/>
                </a:solidFill>
              </a:rPr>
              <a:t>интегрировать</a:t>
            </a:r>
            <a:r>
              <a:rPr lang="ru-RU" sz="1400" dirty="0">
                <a:solidFill>
                  <a:schemeClr val="bg1"/>
                </a:solidFill>
              </a:rPr>
              <a:t>, дешевле, чем в озере работать с данными.</a:t>
            </a:r>
            <a:endParaRPr lang="ru-RU" sz="1400" b="1" dirty="0">
              <a:solidFill>
                <a:schemeClr val="bg1"/>
              </a:solidFill>
            </a:endParaRPr>
          </a:p>
          <a:p>
            <a:pPr marL="400050" indent="-285750"/>
            <a:r>
              <a:rPr lang="ru-RU" sz="1600" dirty="0">
                <a:solidFill>
                  <a:srgbClr val="42C76F"/>
                </a:solidFill>
                <a:latin typeface="Roboto Slab" pitchFamily="2" charset="0"/>
                <a:ea typeface="Roboto Slab" pitchFamily="2" charset="0"/>
              </a:rPr>
              <a:t>Хранилище</a:t>
            </a:r>
            <a:r>
              <a:rPr lang="ru-RU" sz="1400" b="1" dirty="0">
                <a:solidFill>
                  <a:schemeClr val="bg1"/>
                </a:solidFill>
              </a:rPr>
              <a:t> – </a:t>
            </a:r>
            <a:r>
              <a:rPr lang="ru-RU" sz="1400" dirty="0">
                <a:solidFill>
                  <a:schemeClr val="bg1"/>
                </a:solidFill>
              </a:rPr>
              <a:t>данные проходят полный цикл интеграции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ru-RU" sz="1400" dirty="0">
                <a:solidFill>
                  <a:schemeClr val="bg1"/>
                </a:solidFill>
              </a:rPr>
              <a:t>описываются и выстраиваются в единую модель. Дешево </a:t>
            </a:r>
            <a:r>
              <a:rPr lang="ru-RU" sz="1400" i="1" dirty="0">
                <a:solidFill>
                  <a:schemeClr val="bg1"/>
                </a:solidFill>
              </a:rPr>
              <a:t>анализировать</a:t>
            </a:r>
            <a:r>
              <a:rPr lang="ru-RU" sz="1400" dirty="0">
                <a:solidFill>
                  <a:schemeClr val="bg1"/>
                </a:solidFill>
              </a:rPr>
              <a:t>, дорого </a:t>
            </a:r>
            <a:r>
              <a:rPr lang="ru-RU" sz="1400" i="1" dirty="0">
                <a:solidFill>
                  <a:schemeClr val="bg1"/>
                </a:solidFill>
              </a:rPr>
              <a:t>интегрировать</a:t>
            </a:r>
            <a:r>
              <a:rPr lang="ru-RU" sz="1400" dirty="0">
                <a:solidFill>
                  <a:schemeClr val="bg1"/>
                </a:solidFill>
              </a:rPr>
              <a:t> и менять.</a:t>
            </a:r>
            <a:endParaRPr lang="ru-RU" sz="1400" b="1" dirty="0">
              <a:solidFill>
                <a:schemeClr val="bg1"/>
              </a:solidFill>
            </a:endParaRPr>
          </a:p>
        </p:txBody>
      </p:sp>
      <p:grpSp>
        <p:nvGrpSpPr>
          <p:cNvPr id="68" name="Группа 44">
            <a:extLst>
              <a:ext uri="{FF2B5EF4-FFF2-40B4-BE49-F238E27FC236}">
                <a16:creationId xmlns:a16="http://schemas.microsoft.com/office/drawing/2014/main" id="{586B60A1-985F-A045-BCA8-5FF18497C68C}"/>
              </a:ext>
            </a:extLst>
          </p:cNvPr>
          <p:cNvGrpSpPr/>
          <p:nvPr/>
        </p:nvGrpSpPr>
        <p:grpSpPr>
          <a:xfrm>
            <a:off x="2187968" y="1781096"/>
            <a:ext cx="2609525" cy="219814"/>
            <a:chOff x="1216381" y="1386076"/>
            <a:chExt cx="6459488" cy="219814"/>
          </a:xfrm>
        </p:grpSpPr>
        <p:cxnSp>
          <p:nvCxnSpPr>
            <p:cNvPr id="69" name="Прямая соединительная линия 37">
              <a:extLst>
                <a:ext uri="{FF2B5EF4-FFF2-40B4-BE49-F238E27FC236}">
                  <a16:creationId xmlns:a16="http://schemas.microsoft.com/office/drawing/2014/main" id="{CE805038-731C-1544-9A77-CCE369328EBA}"/>
                </a:ext>
              </a:extLst>
            </p:cNvPr>
            <p:cNvCxnSpPr/>
            <p:nvPr/>
          </p:nvCxnSpPr>
          <p:spPr>
            <a:xfrm>
              <a:off x="1216381" y="1488926"/>
              <a:ext cx="5810902" cy="0"/>
            </a:xfrm>
            <a:prstGeom prst="line">
              <a:avLst/>
            </a:prstGeom>
            <a:ln w="3175">
              <a:solidFill>
                <a:schemeClr val="bg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Прямоугольник 40">
              <a:extLst>
                <a:ext uri="{FF2B5EF4-FFF2-40B4-BE49-F238E27FC236}">
                  <a16:creationId xmlns:a16="http://schemas.microsoft.com/office/drawing/2014/main" id="{7574F871-E1D3-FC44-BE0D-CC56AD86B2A2}"/>
                </a:ext>
              </a:extLst>
            </p:cNvPr>
            <p:cNvSpPr/>
            <p:nvPr/>
          </p:nvSpPr>
          <p:spPr>
            <a:xfrm>
              <a:off x="1963414" y="1386076"/>
              <a:ext cx="891126" cy="19802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1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E119F673-C10D-ED47-8732-50A5C011A86E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3918" y="1389915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2" name="Прямоугольник 41">
              <a:extLst>
                <a:ext uri="{FF2B5EF4-FFF2-40B4-BE49-F238E27FC236}">
                  <a16:creationId xmlns:a16="http://schemas.microsoft.com/office/drawing/2014/main" id="{AE1C1CAF-BC04-3C4E-8311-BE48DA6C50BA}"/>
                </a:ext>
              </a:extLst>
            </p:cNvPr>
            <p:cNvSpPr/>
            <p:nvPr/>
          </p:nvSpPr>
          <p:spPr>
            <a:xfrm>
              <a:off x="4353608" y="1402491"/>
              <a:ext cx="891225" cy="19802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3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245A151D-60C0-3740-8EA5-562C7D4FEC4A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6549" y="1402491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F17FD965-4241-C14E-984A-0FC0B3EFBB9A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5750" y="1407868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" name="Группа 82">
            <a:extLst>
              <a:ext uri="{FF2B5EF4-FFF2-40B4-BE49-F238E27FC236}">
                <a16:creationId xmlns:a16="http://schemas.microsoft.com/office/drawing/2014/main" id="{7EC880F2-618D-C74E-B1BB-2FA070B1BB4A}"/>
              </a:ext>
            </a:extLst>
          </p:cNvPr>
          <p:cNvGrpSpPr/>
          <p:nvPr/>
        </p:nvGrpSpPr>
        <p:grpSpPr>
          <a:xfrm>
            <a:off x="2187968" y="2554742"/>
            <a:ext cx="2609525" cy="219814"/>
            <a:chOff x="1216381" y="1386076"/>
            <a:chExt cx="6459488" cy="219814"/>
          </a:xfrm>
        </p:grpSpPr>
        <p:cxnSp>
          <p:nvCxnSpPr>
            <p:cNvPr id="76" name="Прямая соединительная линия 83">
              <a:extLst>
                <a:ext uri="{FF2B5EF4-FFF2-40B4-BE49-F238E27FC236}">
                  <a16:creationId xmlns:a16="http://schemas.microsoft.com/office/drawing/2014/main" id="{424DB706-D0DA-D745-A3C7-74AF5B576928}"/>
                </a:ext>
              </a:extLst>
            </p:cNvPr>
            <p:cNvCxnSpPr/>
            <p:nvPr/>
          </p:nvCxnSpPr>
          <p:spPr>
            <a:xfrm>
              <a:off x="1216381" y="1488926"/>
              <a:ext cx="5810902" cy="0"/>
            </a:xfrm>
            <a:prstGeom prst="line">
              <a:avLst/>
            </a:prstGeom>
            <a:ln w="3175">
              <a:solidFill>
                <a:schemeClr val="bg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Прямоугольник 84">
              <a:extLst>
                <a:ext uri="{FF2B5EF4-FFF2-40B4-BE49-F238E27FC236}">
                  <a16:creationId xmlns:a16="http://schemas.microsoft.com/office/drawing/2014/main" id="{830067B8-A6CC-054C-B64A-01A2C04127B8}"/>
                </a:ext>
              </a:extLst>
            </p:cNvPr>
            <p:cNvSpPr/>
            <p:nvPr/>
          </p:nvSpPr>
          <p:spPr>
            <a:xfrm>
              <a:off x="1963414" y="1386076"/>
              <a:ext cx="891126" cy="19802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8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1C242CE7-3283-9E4D-A2D9-7057637EE43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3918" y="1389915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9" name="Прямоугольник 86">
              <a:extLst>
                <a:ext uri="{FF2B5EF4-FFF2-40B4-BE49-F238E27FC236}">
                  <a16:creationId xmlns:a16="http://schemas.microsoft.com/office/drawing/2014/main" id="{1D698669-9954-194A-84C1-B0F0C973B369}"/>
                </a:ext>
              </a:extLst>
            </p:cNvPr>
            <p:cNvSpPr/>
            <p:nvPr/>
          </p:nvSpPr>
          <p:spPr>
            <a:xfrm>
              <a:off x="4353608" y="1402491"/>
              <a:ext cx="891225" cy="19802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80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BBE8FF35-AF14-D042-873F-2309EFBC7F4B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6549" y="1402491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6BDFA5C9-7E91-7C41-9ECB-A76728C23140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5750" y="1407868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2" name="Группа 89">
            <a:extLst>
              <a:ext uri="{FF2B5EF4-FFF2-40B4-BE49-F238E27FC236}">
                <a16:creationId xmlns:a16="http://schemas.microsoft.com/office/drawing/2014/main" id="{6C0C6D88-BED0-8043-A9C5-58E1A9C19101}"/>
              </a:ext>
            </a:extLst>
          </p:cNvPr>
          <p:cNvGrpSpPr/>
          <p:nvPr/>
        </p:nvGrpSpPr>
        <p:grpSpPr>
          <a:xfrm>
            <a:off x="2187968" y="2841543"/>
            <a:ext cx="2609525" cy="203399"/>
            <a:chOff x="1216381" y="1402491"/>
            <a:chExt cx="6459488" cy="203399"/>
          </a:xfrm>
        </p:grpSpPr>
        <p:cxnSp>
          <p:nvCxnSpPr>
            <p:cNvPr id="83" name="Прямая соединительная линия 90">
              <a:extLst>
                <a:ext uri="{FF2B5EF4-FFF2-40B4-BE49-F238E27FC236}">
                  <a16:creationId xmlns:a16="http://schemas.microsoft.com/office/drawing/2014/main" id="{4556970A-846A-4441-AF52-C1E4BF3F4B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16381" y="1488926"/>
              <a:ext cx="5810902" cy="12576"/>
            </a:xfrm>
            <a:prstGeom prst="line">
              <a:avLst/>
            </a:prstGeom>
            <a:ln w="3175">
              <a:solidFill>
                <a:schemeClr val="bg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Прямоугольник 93">
              <a:extLst>
                <a:ext uri="{FF2B5EF4-FFF2-40B4-BE49-F238E27FC236}">
                  <a16:creationId xmlns:a16="http://schemas.microsoft.com/office/drawing/2014/main" id="{B43B51F8-9F81-C54F-9980-1F2485080043}"/>
                </a:ext>
              </a:extLst>
            </p:cNvPr>
            <p:cNvSpPr/>
            <p:nvPr/>
          </p:nvSpPr>
          <p:spPr>
            <a:xfrm>
              <a:off x="4353608" y="1402491"/>
              <a:ext cx="891225" cy="19802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85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C6B482F0-57D3-7C4B-881C-BBA181F3FDE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6549" y="1402491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6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F43617C1-E71B-B443-9A1B-59CE37CFCD40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5750" y="1407868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7" name="Группа 103">
            <a:extLst>
              <a:ext uri="{FF2B5EF4-FFF2-40B4-BE49-F238E27FC236}">
                <a16:creationId xmlns:a16="http://schemas.microsoft.com/office/drawing/2014/main" id="{1974DD18-88FB-E24D-B153-5B12C8EC85C3}"/>
              </a:ext>
            </a:extLst>
          </p:cNvPr>
          <p:cNvGrpSpPr/>
          <p:nvPr/>
        </p:nvGrpSpPr>
        <p:grpSpPr>
          <a:xfrm>
            <a:off x="2187968" y="3104640"/>
            <a:ext cx="2609525" cy="203399"/>
            <a:chOff x="1216381" y="1402491"/>
            <a:chExt cx="6459488" cy="203399"/>
          </a:xfrm>
        </p:grpSpPr>
        <p:cxnSp>
          <p:nvCxnSpPr>
            <p:cNvPr id="88" name="Прямая соединительная линия 104">
              <a:extLst>
                <a:ext uri="{FF2B5EF4-FFF2-40B4-BE49-F238E27FC236}">
                  <a16:creationId xmlns:a16="http://schemas.microsoft.com/office/drawing/2014/main" id="{21A1285A-C6B6-9A48-9FD3-970F3BF461C0}"/>
                </a:ext>
              </a:extLst>
            </p:cNvPr>
            <p:cNvCxnSpPr/>
            <p:nvPr/>
          </p:nvCxnSpPr>
          <p:spPr>
            <a:xfrm>
              <a:off x="1216381" y="1488926"/>
              <a:ext cx="5810902" cy="0"/>
            </a:xfrm>
            <a:prstGeom prst="line">
              <a:avLst/>
            </a:prstGeom>
            <a:ln w="3175">
              <a:solidFill>
                <a:schemeClr val="bg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Прямоугольник 107">
              <a:extLst>
                <a:ext uri="{FF2B5EF4-FFF2-40B4-BE49-F238E27FC236}">
                  <a16:creationId xmlns:a16="http://schemas.microsoft.com/office/drawing/2014/main" id="{593330DA-AC6D-1645-A497-86B8F3590680}"/>
                </a:ext>
              </a:extLst>
            </p:cNvPr>
            <p:cNvSpPr/>
            <p:nvPr/>
          </p:nvSpPr>
          <p:spPr>
            <a:xfrm>
              <a:off x="4353608" y="1402491"/>
              <a:ext cx="891225" cy="19802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0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F9669765-F06E-FC41-BB9C-BD87C4CAA0D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5750" y="1407868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1" name="Группа 110">
            <a:extLst>
              <a:ext uri="{FF2B5EF4-FFF2-40B4-BE49-F238E27FC236}">
                <a16:creationId xmlns:a16="http://schemas.microsoft.com/office/drawing/2014/main" id="{BE8E5C5A-D58F-9147-AE2E-888328279F2C}"/>
              </a:ext>
            </a:extLst>
          </p:cNvPr>
          <p:cNvGrpSpPr/>
          <p:nvPr/>
        </p:nvGrpSpPr>
        <p:grpSpPr>
          <a:xfrm>
            <a:off x="2187968" y="3447613"/>
            <a:ext cx="2609525" cy="198022"/>
            <a:chOff x="1216381" y="1407868"/>
            <a:chExt cx="6459488" cy="198022"/>
          </a:xfrm>
        </p:grpSpPr>
        <p:cxnSp>
          <p:nvCxnSpPr>
            <p:cNvPr id="92" name="Прямая соединительная линия 111">
              <a:extLst>
                <a:ext uri="{FF2B5EF4-FFF2-40B4-BE49-F238E27FC236}">
                  <a16:creationId xmlns:a16="http://schemas.microsoft.com/office/drawing/2014/main" id="{DD903CAE-DFE7-2D4D-9A3C-9349C2A187B0}"/>
                </a:ext>
              </a:extLst>
            </p:cNvPr>
            <p:cNvCxnSpPr/>
            <p:nvPr/>
          </p:nvCxnSpPr>
          <p:spPr>
            <a:xfrm>
              <a:off x="1216381" y="1488926"/>
              <a:ext cx="5810902" cy="0"/>
            </a:xfrm>
            <a:prstGeom prst="line">
              <a:avLst/>
            </a:prstGeom>
            <a:ln w="3175">
              <a:solidFill>
                <a:schemeClr val="bg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3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5038F2C3-5CEE-564D-8E66-75A4A80AFBA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5750" y="1407868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4" name="Группа 118">
            <a:extLst>
              <a:ext uri="{FF2B5EF4-FFF2-40B4-BE49-F238E27FC236}">
                <a16:creationId xmlns:a16="http://schemas.microsoft.com/office/drawing/2014/main" id="{9040FA2F-2DAE-4240-9D31-BE3533993247}"/>
              </a:ext>
            </a:extLst>
          </p:cNvPr>
          <p:cNvGrpSpPr/>
          <p:nvPr/>
        </p:nvGrpSpPr>
        <p:grpSpPr>
          <a:xfrm>
            <a:off x="2217417" y="4202153"/>
            <a:ext cx="2580076" cy="203399"/>
            <a:chOff x="1289278" y="1402491"/>
            <a:chExt cx="6386591" cy="203399"/>
          </a:xfrm>
        </p:grpSpPr>
        <p:cxnSp>
          <p:nvCxnSpPr>
            <p:cNvPr id="95" name="Прямая соединительная линия 119">
              <a:extLst>
                <a:ext uri="{FF2B5EF4-FFF2-40B4-BE49-F238E27FC236}">
                  <a16:creationId xmlns:a16="http://schemas.microsoft.com/office/drawing/2014/main" id="{28A41DED-240A-E548-A68F-39CB7138E5E4}"/>
                </a:ext>
              </a:extLst>
            </p:cNvPr>
            <p:cNvCxnSpPr>
              <a:cxnSpLocks/>
            </p:cNvCxnSpPr>
            <p:nvPr/>
          </p:nvCxnSpPr>
          <p:spPr>
            <a:xfrm>
              <a:off x="1289278" y="1488926"/>
              <a:ext cx="5738005" cy="0"/>
            </a:xfrm>
            <a:prstGeom prst="line">
              <a:avLst/>
            </a:prstGeom>
            <a:ln w="3175">
              <a:solidFill>
                <a:schemeClr val="bg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Прямоугольник 120">
              <a:extLst>
                <a:ext uri="{FF2B5EF4-FFF2-40B4-BE49-F238E27FC236}">
                  <a16:creationId xmlns:a16="http://schemas.microsoft.com/office/drawing/2014/main" id="{18C8BC8B-3672-C641-AE2F-4E94FF474776}"/>
                </a:ext>
              </a:extLst>
            </p:cNvPr>
            <p:cNvSpPr/>
            <p:nvPr/>
          </p:nvSpPr>
          <p:spPr>
            <a:xfrm>
              <a:off x="4353608" y="1402491"/>
              <a:ext cx="891225" cy="19802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7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6A26D234-27FA-1C40-A46C-A25E17046D73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6549" y="1402491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8" name="Picture 4" descr="C:\Users\volodindv\Downloads\icons\icons8-одобрено-480 (1).png">
              <a:extLst>
                <a:ext uri="{FF2B5EF4-FFF2-40B4-BE49-F238E27FC236}">
                  <a16:creationId xmlns:a16="http://schemas.microsoft.com/office/drawing/2014/main" id="{69414764-8C6E-EC42-8805-076DA76A36C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5750" y="1407868"/>
              <a:ext cx="490119" cy="1980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9" name="Picture 3" descr="C:\Users\volodindv\Downloads\icons\icons8-внимание-480.png">
            <a:extLst>
              <a:ext uri="{FF2B5EF4-FFF2-40B4-BE49-F238E27FC236}">
                <a16:creationId xmlns:a16="http://schemas.microsoft.com/office/drawing/2014/main" id="{93BEFCEA-315D-A94A-96DD-D3C75538BC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2205" y="3111950"/>
            <a:ext cx="198000" cy="19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TextBox 102">
            <a:extLst>
              <a:ext uri="{FF2B5EF4-FFF2-40B4-BE49-F238E27FC236}">
                <a16:creationId xmlns:a16="http://schemas.microsoft.com/office/drawing/2014/main" id="{0E66BDCD-FD81-F34E-B403-A9B298E2FC2E}"/>
              </a:ext>
            </a:extLst>
          </p:cNvPr>
          <p:cNvSpPr txBox="1"/>
          <p:nvPr/>
        </p:nvSpPr>
        <p:spPr>
          <a:xfrm>
            <a:off x="8851363" y="4755754"/>
            <a:ext cx="2824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42C76F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08683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B3768-D5C3-B24A-97A1-51F968C48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29925"/>
            <a:ext cx="7886700" cy="881350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Основные элементы хранения данных</a:t>
            </a:r>
          </a:p>
        </p:txBody>
      </p:sp>
      <p:sp>
        <p:nvSpPr>
          <p:cNvPr id="5" name="Блок-схема: магнитный диск 16">
            <a:extLst>
              <a:ext uri="{FF2B5EF4-FFF2-40B4-BE49-F238E27FC236}">
                <a16:creationId xmlns:a16="http://schemas.microsoft.com/office/drawing/2014/main" id="{DAB0BDED-878F-AE4B-95CC-D5359B6B1EDF}"/>
              </a:ext>
            </a:extLst>
          </p:cNvPr>
          <p:cNvSpPr/>
          <p:nvPr/>
        </p:nvSpPr>
        <p:spPr bwMode="auto">
          <a:xfrm>
            <a:off x="3881978" y="4348442"/>
            <a:ext cx="1544128" cy="556058"/>
          </a:xfrm>
          <a:prstGeom prst="flowChartMagneticDisk">
            <a:avLst/>
          </a:prstGeom>
          <a:solidFill>
            <a:srgbClr val="B2D2D8"/>
          </a:solidFill>
          <a:ln w="9525" cap="flat" cmpd="sng" algn="ctr">
            <a:solidFill>
              <a:schemeClr val="tx1">
                <a:alpha val="9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latin typeface="Arial" charset="0"/>
            </a:endParaRPr>
          </a:p>
        </p:txBody>
      </p:sp>
      <p:sp>
        <p:nvSpPr>
          <p:cNvPr id="6" name="Дата 2">
            <a:extLst>
              <a:ext uri="{FF2B5EF4-FFF2-40B4-BE49-F238E27FC236}">
                <a16:creationId xmlns:a16="http://schemas.microsoft.com/office/drawing/2014/main" id="{DF6A243D-E6F6-C84E-B345-197ECE4DA9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72038" y="6469470"/>
            <a:ext cx="813998" cy="234231"/>
          </a:xfrm>
        </p:spPr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30.10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5778A057-14A5-9544-AB64-1A37031765D5}"/>
              </a:ext>
            </a:extLst>
          </p:cNvPr>
          <p:cNvSpPr txBox="1">
            <a:spLocks/>
          </p:cNvSpPr>
          <p:nvPr/>
        </p:nvSpPr>
        <p:spPr>
          <a:xfrm>
            <a:off x="9179045" y="6392551"/>
            <a:ext cx="471821" cy="311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778986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BD563E-B0D3-447F-AFD2-910202E21ABB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8" name="Блок-схема: магнитный диск 14">
            <a:extLst>
              <a:ext uri="{FF2B5EF4-FFF2-40B4-BE49-F238E27FC236}">
                <a16:creationId xmlns:a16="http://schemas.microsoft.com/office/drawing/2014/main" id="{8E914280-94FE-3740-AF0E-60405BD789C6}"/>
              </a:ext>
            </a:extLst>
          </p:cNvPr>
          <p:cNvSpPr/>
          <p:nvPr/>
        </p:nvSpPr>
        <p:spPr bwMode="auto">
          <a:xfrm>
            <a:off x="3795680" y="4273161"/>
            <a:ext cx="1544128" cy="556058"/>
          </a:xfrm>
          <a:prstGeom prst="flowChartMagneticDisk">
            <a:avLst/>
          </a:prstGeom>
          <a:solidFill>
            <a:srgbClr val="B2D2D8"/>
          </a:solidFill>
          <a:ln w="9525" cap="flat" cmpd="sng" algn="ctr">
            <a:solidFill>
              <a:schemeClr val="tx1">
                <a:alpha val="9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latin typeface="Arial" charset="0"/>
            </a:endParaRPr>
          </a:p>
        </p:txBody>
      </p:sp>
      <p:sp>
        <p:nvSpPr>
          <p:cNvPr id="9" name="Блок-схема: магнитный диск 15">
            <a:extLst>
              <a:ext uri="{FF2B5EF4-FFF2-40B4-BE49-F238E27FC236}">
                <a16:creationId xmlns:a16="http://schemas.microsoft.com/office/drawing/2014/main" id="{18F01997-0E8A-2F4A-B4BE-FDBEC6557757}"/>
              </a:ext>
            </a:extLst>
          </p:cNvPr>
          <p:cNvSpPr/>
          <p:nvPr/>
        </p:nvSpPr>
        <p:spPr bwMode="auto">
          <a:xfrm>
            <a:off x="3705709" y="4194189"/>
            <a:ext cx="1544128" cy="556058"/>
          </a:xfrm>
          <a:prstGeom prst="flowChartMagneticDisk">
            <a:avLst/>
          </a:prstGeom>
          <a:solidFill>
            <a:srgbClr val="B2D2D8"/>
          </a:solidFill>
          <a:ln w="9525" cap="flat" cmpd="sng" algn="ctr">
            <a:solidFill>
              <a:schemeClr val="tx1">
                <a:alpha val="9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latin typeface="Arial" charset="0"/>
              </a:rPr>
              <a:t>Источники</a:t>
            </a:r>
          </a:p>
        </p:txBody>
      </p:sp>
      <p:sp>
        <p:nvSpPr>
          <p:cNvPr id="10" name="Блок-схема: магнитный диск 17">
            <a:extLst>
              <a:ext uri="{FF2B5EF4-FFF2-40B4-BE49-F238E27FC236}">
                <a16:creationId xmlns:a16="http://schemas.microsoft.com/office/drawing/2014/main" id="{44343144-B39C-3C40-9758-D272836D318A}"/>
              </a:ext>
            </a:extLst>
          </p:cNvPr>
          <p:cNvSpPr/>
          <p:nvPr/>
        </p:nvSpPr>
        <p:spPr bwMode="auto">
          <a:xfrm>
            <a:off x="3243880" y="3335811"/>
            <a:ext cx="2448464" cy="612648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>
                <a:latin typeface="Arial" charset="0"/>
              </a:rPr>
              <a:t>Staging</a:t>
            </a:r>
            <a:endParaRPr lang="ru-RU" sz="1800" b="1" dirty="0">
              <a:latin typeface="Arial" charset="0"/>
            </a:endParaRPr>
          </a:p>
        </p:txBody>
      </p:sp>
      <p:cxnSp>
        <p:nvCxnSpPr>
          <p:cNvPr id="11" name="Прямая со стрелкой 19">
            <a:extLst>
              <a:ext uri="{FF2B5EF4-FFF2-40B4-BE49-F238E27FC236}">
                <a16:creationId xmlns:a16="http://schemas.microsoft.com/office/drawing/2014/main" id="{FD3E5D3C-2EDE-6144-9BCF-A6F88CA33F10}"/>
              </a:ext>
            </a:extLst>
          </p:cNvPr>
          <p:cNvCxnSpPr>
            <a:stCxn id="9" idx="1"/>
            <a:endCxn id="10" idx="3"/>
          </p:cNvCxnSpPr>
          <p:nvPr/>
        </p:nvCxnSpPr>
        <p:spPr bwMode="auto">
          <a:xfrm flipH="1" flipV="1">
            <a:off x="4468112" y="3948459"/>
            <a:ext cx="9661" cy="24573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Блок-схема: магнитный диск 20">
            <a:extLst>
              <a:ext uri="{FF2B5EF4-FFF2-40B4-BE49-F238E27FC236}">
                <a16:creationId xmlns:a16="http://schemas.microsoft.com/office/drawing/2014/main" id="{A19EBDA5-A716-E745-B3C2-1B6E2E1891D7}"/>
              </a:ext>
            </a:extLst>
          </p:cNvPr>
          <p:cNvSpPr/>
          <p:nvPr/>
        </p:nvSpPr>
        <p:spPr bwMode="auto">
          <a:xfrm>
            <a:off x="3242042" y="2783129"/>
            <a:ext cx="2448464" cy="612648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>
                <a:latin typeface="Arial" charset="0"/>
              </a:rPr>
              <a:t>ODS</a:t>
            </a:r>
            <a:endParaRPr lang="ru-RU" sz="1800" b="1" dirty="0">
              <a:latin typeface="Arial" charset="0"/>
            </a:endParaRPr>
          </a:p>
        </p:txBody>
      </p:sp>
      <p:cxnSp>
        <p:nvCxnSpPr>
          <p:cNvPr id="13" name="Прямая со стрелкой 24">
            <a:extLst>
              <a:ext uri="{FF2B5EF4-FFF2-40B4-BE49-F238E27FC236}">
                <a16:creationId xmlns:a16="http://schemas.microsoft.com/office/drawing/2014/main" id="{05C5DC3C-74FD-4D47-BC38-E71D1B16625D}"/>
              </a:ext>
            </a:extLst>
          </p:cNvPr>
          <p:cNvCxnSpPr>
            <a:stCxn id="10" idx="0"/>
            <a:endCxn id="12" idx="3"/>
          </p:cNvCxnSpPr>
          <p:nvPr/>
        </p:nvCxnSpPr>
        <p:spPr bwMode="auto">
          <a:xfrm flipH="1" flipV="1">
            <a:off x="4466274" y="3395777"/>
            <a:ext cx="1838" cy="14425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Блок-схема: магнитный диск 27">
            <a:extLst>
              <a:ext uri="{FF2B5EF4-FFF2-40B4-BE49-F238E27FC236}">
                <a16:creationId xmlns:a16="http://schemas.microsoft.com/office/drawing/2014/main" id="{BF10997A-76F3-7842-9210-05875053C572}"/>
              </a:ext>
            </a:extLst>
          </p:cNvPr>
          <p:cNvSpPr/>
          <p:nvPr/>
        </p:nvSpPr>
        <p:spPr bwMode="auto">
          <a:xfrm>
            <a:off x="3240205" y="2207960"/>
            <a:ext cx="2448464" cy="602088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>
                <a:latin typeface="Arial" charset="0"/>
              </a:rPr>
              <a:t>DDS</a:t>
            </a:r>
            <a:endParaRPr lang="ru-RU" sz="1800" b="1" dirty="0">
              <a:latin typeface="Arial" charset="0"/>
            </a:endParaRPr>
          </a:p>
        </p:txBody>
      </p:sp>
      <p:cxnSp>
        <p:nvCxnSpPr>
          <p:cNvPr id="15" name="Прямая со стрелкой 28">
            <a:extLst>
              <a:ext uri="{FF2B5EF4-FFF2-40B4-BE49-F238E27FC236}">
                <a16:creationId xmlns:a16="http://schemas.microsoft.com/office/drawing/2014/main" id="{45C165A9-2406-AD4C-BF7B-2E0D1D56D1D9}"/>
              </a:ext>
            </a:extLst>
          </p:cNvPr>
          <p:cNvCxnSpPr>
            <a:cxnSpLocks/>
            <a:stCxn id="12" idx="0"/>
            <a:endCxn id="14" idx="3"/>
          </p:cNvCxnSpPr>
          <p:nvPr/>
        </p:nvCxnSpPr>
        <p:spPr bwMode="auto">
          <a:xfrm flipH="1" flipV="1">
            <a:off x="4464437" y="2810048"/>
            <a:ext cx="1837" cy="17729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Блок-схема: магнитный диск 32">
            <a:extLst>
              <a:ext uri="{FF2B5EF4-FFF2-40B4-BE49-F238E27FC236}">
                <a16:creationId xmlns:a16="http://schemas.microsoft.com/office/drawing/2014/main" id="{FEAC1742-1B2B-FE4D-BE8D-1D811D694D6F}"/>
              </a:ext>
            </a:extLst>
          </p:cNvPr>
          <p:cNvSpPr/>
          <p:nvPr/>
        </p:nvSpPr>
        <p:spPr bwMode="auto">
          <a:xfrm>
            <a:off x="3236530" y="1653008"/>
            <a:ext cx="2448464" cy="612648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DS</a:t>
            </a: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7" name="Прямая со стрелкой 34">
            <a:extLst>
              <a:ext uri="{FF2B5EF4-FFF2-40B4-BE49-F238E27FC236}">
                <a16:creationId xmlns:a16="http://schemas.microsoft.com/office/drawing/2014/main" id="{3EAD4A9E-8222-4B4F-889E-DB9E5DE87967}"/>
              </a:ext>
            </a:extLst>
          </p:cNvPr>
          <p:cNvCxnSpPr>
            <a:cxnSpLocks/>
            <a:stCxn id="14" idx="0"/>
            <a:endCxn id="16" idx="3"/>
          </p:cNvCxnSpPr>
          <p:nvPr/>
        </p:nvCxnSpPr>
        <p:spPr bwMode="auto">
          <a:xfrm flipH="1" flipV="1">
            <a:off x="4460762" y="2265656"/>
            <a:ext cx="3675" cy="1430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Блок-схема: карточка 54">
            <a:extLst>
              <a:ext uri="{FF2B5EF4-FFF2-40B4-BE49-F238E27FC236}">
                <a16:creationId xmlns:a16="http://schemas.microsoft.com/office/drawing/2014/main" id="{6859D08F-4C53-6F45-B562-F32A231AEFFD}"/>
              </a:ext>
            </a:extLst>
          </p:cNvPr>
          <p:cNvSpPr/>
          <p:nvPr/>
        </p:nvSpPr>
        <p:spPr bwMode="auto">
          <a:xfrm>
            <a:off x="6724801" y="2251578"/>
            <a:ext cx="1711308" cy="804672"/>
          </a:xfrm>
          <a:prstGeom prst="flowChartPunchedCard">
            <a:avLst/>
          </a:prstGeom>
          <a:solidFill>
            <a:srgbClr val="42C76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Каталог данных</a:t>
            </a: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737EC9D0-D2EA-304E-BD0F-B1AB914D52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59246" y="251616"/>
            <a:ext cx="392117" cy="392117"/>
          </a:xfrm>
          <a:prstGeom prst="rect">
            <a:avLst/>
          </a:prstGeom>
        </p:spPr>
      </p:pic>
      <p:cxnSp>
        <p:nvCxnSpPr>
          <p:cNvPr id="45" name="Прямая со стрелкой 34">
            <a:extLst>
              <a:ext uri="{FF2B5EF4-FFF2-40B4-BE49-F238E27FC236}">
                <a16:creationId xmlns:a16="http://schemas.microsoft.com/office/drawing/2014/main" id="{B7325AB0-C10C-AC40-BEC3-E45530AA9CDA}"/>
              </a:ext>
            </a:extLst>
          </p:cNvPr>
          <p:cNvCxnSpPr>
            <a:cxnSpLocks/>
            <a:stCxn id="25" idx="1"/>
            <a:endCxn id="14" idx="4"/>
          </p:cNvCxnSpPr>
          <p:nvPr/>
        </p:nvCxnSpPr>
        <p:spPr bwMode="auto">
          <a:xfrm flipH="1" flipV="1">
            <a:off x="5688669" y="2509004"/>
            <a:ext cx="1036132" cy="14491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Прямая со стрелкой 34">
            <a:extLst>
              <a:ext uri="{FF2B5EF4-FFF2-40B4-BE49-F238E27FC236}">
                <a16:creationId xmlns:a16="http://schemas.microsoft.com/office/drawing/2014/main" id="{C84B7214-AD9E-D54B-A8C4-6094008B6235}"/>
              </a:ext>
            </a:extLst>
          </p:cNvPr>
          <p:cNvCxnSpPr>
            <a:cxnSpLocks/>
            <a:stCxn id="25" idx="1"/>
            <a:endCxn id="16" idx="4"/>
          </p:cNvCxnSpPr>
          <p:nvPr/>
        </p:nvCxnSpPr>
        <p:spPr bwMode="auto">
          <a:xfrm flipH="1" flipV="1">
            <a:off x="5684994" y="1959332"/>
            <a:ext cx="1039807" cy="69458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Прямая со стрелкой 34">
            <a:extLst>
              <a:ext uri="{FF2B5EF4-FFF2-40B4-BE49-F238E27FC236}">
                <a16:creationId xmlns:a16="http://schemas.microsoft.com/office/drawing/2014/main" id="{702F032E-2412-8D40-A209-6320031E0A6D}"/>
              </a:ext>
            </a:extLst>
          </p:cNvPr>
          <p:cNvCxnSpPr>
            <a:cxnSpLocks/>
            <a:stCxn id="25" idx="1"/>
            <a:endCxn id="12" idx="4"/>
          </p:cNvCxnSpPr>
          <p:nvPr/>
        </p:nvCxnSpPr>
        <p:spPr bwMode="auto">
          <a:xfrm flipH="1">
            <a:off x="5690506" y="2653914"/>
            <a:ext cx="1034295" cy="43553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Прямая со стрелкой 34">
            <a:extLst>
              <a:ext uri="{FF2B5EF4-FFF2-40B4-BE49-F238E27FC236}">
                <a16:creationId xmlns:a16="http://schemas.microsoft.com/office/drawing/2014/main" id="{E9166DAE-817A-284B-8E11-63A52D047E11}"/>
              </a:ext>
            </a:extLst>
          </p:cNvPr>
          <p:cNvCxnSpPr>
            <a:cxnSpLocks/>
            <a:stCxn id="25" idx="1"/>
            <a:endCxn id="10" idx="4"/>
          </p:cNvCxnSpPr>
          <p:nvPr/>
        </p:nvCxnSpPr>
        <p:spPr bwMode="auto">
          <a:xfrm flipH="1">
            <a:off x="5692344" y="2653914"/>
            <a:ext cx="1032457" cy="9882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Блок-схема: магнитный диск 17">
            <a:extLst>
              <a:ext uri="{FF2B5EF4-FFF2-40B4-BE49-F238E27FC236}">
                <a16:creationId xmlns:a16="http://schemas.microsoft.com/office/drawing/2014/main" id="{2B76EF87-7FE4-664E-A3E7-4360BFDD54CD}"/>
              </a:ext>
            </a:extLst>
          </p:cNvPr>
          <p:cNvSpPr/>
          <p:nvPr/>
        </p:nvSpPr>
        <p:spPr bwMode="auto">
          <a:xfrm>
            <a:off x="224247" y="2685621"/>
            <a:ext cx="1828800" cy="807663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DS</a:t>
            </a: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9" name="Прямая со стрелкой 19">
            <a:extLst>
              <a:ext uri="{FF2B5EF4-FFF2-40B4-BE49-F238E27FC236}">
                <a16:creationId xmlns:a16="http://schemas.microsoft.com/office/drawing/2014/main" id="{23CBD17B-0BBC-EC43-8814-7F5096791918}"/>
              </a:ext>
            </a:extLst>
          </p:cNvPr>
          <p:cNvCxnSpPr>
            <a:cxnSpLocks/>
            <a:stCxn id="12" idx="2"/>
            <a:endCxn id="55" idx="4"/>
          </p:cNvCxnSpPr>
          <p:nvPr/>
        </p:nvCxnSpPr>
        <p:spPr bwMode="auto">
          <a:xfrm flipH="1">
            <a:off x="2053047" y="3089453"/>
            <a:ext cx="118899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Прямая со стрелкой 19">
            <a:extLst>
              <a:ext uri="{FF2B5EF4-FFF2-40B4-BE49-F238E27FC236}">
                <a16:creationId xmlns:a16="http://schemas.microsoft.com/office/drawing/2014/main" id="{1EF3D5E7-4AB2-B74C-B159-D5CDE9C2432A}"/>
              </a:ext>
            </a:extLst>
          </p:cNvPr>
          <p:cNvCxnSpPr>
            <a:cxnSpLocks/>
            <a:stCxn id="14" idx="2"/>
          </p:cNvCxnSpPr>
          <p:nvPr/>
        </p:nvCxnSpPr>
        <p:spPr bwMode="auto">
          <a:xfrm flipH="1">
            <a:off x="2053047" y="2509004"/>
            <a:ext cx="1187158" cy="44074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Прямая со стрелкой 19">
            <a:extLst>
              <a:ext uri="{FF2B5EF4-FFF2-40B4-BE49-F238E27FC236}">
                <a16:creationId xmlns:a16="http://schemas.microsoft.com/office/drawing/2014/main" id="{44A41E92-FA3A-7A4A-B7BB-EA331576738E}"/>
              </a:ext>
            </a:extLst>
          </p:cNvPr>
          <p:cNvCxnSpPr>
            <a:cxnSpLocks/>
            <a:stCxn id="16" idx="2"/>
          </p:cNvCxnSpPr>
          <p:nvPr/>
        </p:nvCxnSpPr>
        <p:spPr bwMode="auto">
          <a:xfrm flipH="1">
            <a:off x="1842604" y="1959332"/>
            <a:ext cx="1393926" cy="79614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0" name="Блок-схема: магнитный диск 32">
            <a:extLst>
              <a:ext uri="{FF2B5EF4-FFF2-40B4-BE49-F238E27FC236}">
                <a16:creationId xmlns:a16="http://schemas.microsoft.com/office/drawing/2014/main" id="{44FDAAF6-12C3-AF44-9655-C59EED9F56A9}"/>
              </a:ext>
            </a:extLst>
          </p:cNvPr>
          <p:cNvSpPr/>
          <p:nvPr/>
        </p:nvSpPr>
        <p:spPr bwMode="auto">
          <a:xfrm>
            <a:off x="3240205" y="1083803"/>
            <a:ext cx="2448464" cy="612648"/>
          </a:xfrm>
          <a:prstGeom prst="flowChartMagneticDisk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>
                <a:latin typeface="Arial" charset="0"/>
              </a:rPr>
              <a:t>Data</a:t>
            </a:r>
            <a:r>
              <a:rPr lang="en-US" b="1" dirty="0">
                <a:latin typeface="Arial" charset="0"/>
              </a:rPr>
              <a:t> Marts</a:t>
            </a: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92" name="Прямая со стрелкой 19">
            <a:extLst>
              <a:ext uri="{FF2B5EF4-FFF2-40B4-BE49-F238E27FC236}">
                <a16:creationId xmlns:a16="http://schemas.microsoft.com/office/drawing/2014/main" id="{07C7BF61-9FAF-1B42-9AC7-C6448F84FEB5}"/>
              </a:ext>
            </a:extLst>
          </p:cNvPr>
          <p:cNvCxnSpPr>
            <a:cxnSpLocks/>
            <a:stCxn id="80" idx="2"/>
            <a:endCxn id="55" idx="1"/>
          </p:cNvCxnSpPr>
          <p:nvPr/>
        </p:nvCxnSpPr>
        <p:spPr bwMode="auto">
          <a:xfrm flipH="1">
            <a:off x="1138647" y="1390127"/>
            <a:ext cx="2101558" cy="12954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5" name="Прямая со стрелкой 34">
            <a:extLst>
              <a:ext uri="{FF2B5EF4-FFF2-40B4-BE49-F238E27FC236}">
                <a16:creationId xmlns:a16="http://schemas.microsoft.com/office/drawing/2014/main" id="{0D5C4A87-5A3F-954A-9DF5-F92B1342A4CB}"/>
              </a:ext>
            </a:extLst>
          </p:cNvPr>
          <p:cNvCxnSpPr>
            <a:cxnSpLocks/>
            <a:stCxn id="25" idx="1"/>
            <a:endCxn id="80" idx="4"/>
          </p:cNvCxnSpPr>
          <p:nvPr/>
        </p:nvCxnSpPr>
        <p:spPr bwMode="auto">
          <a:xfrm flipH="1" flipV="1">
            <a:off x="5688669" y="1390127"/>
            <a:ext cx="1036132" cy="126378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id="{48B1858A-96E3-504D-902E-6932702654F9}"/>
              </a:ext>
            </a:extLst>
          </p:cNvPr>
          <p:cNvSpPr txBox="1"/>
          <p:nvPr/>
        </p:nvSpPr>
        <p:spPr>
          <a:xfrm>
            <a:off x="8851363" y="4755754"/>
            <a:ext cx="2824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42C76F"/>
                </a:solidFill>
              </a:rPr>
              <a:t>3</a:t>
            </a:r>
            <a:endParaRPr lang="ru-RU" dirty="0">
              <a:solidFill>
                <a:srgbClr val="42C76F"/>
              </a:solidFill>
            </a:endParaRPr>
          </a:p>
        </p:txBody>
      </p:sp>
      <p:cxnSp>
        <p:nvCxnSpPr>
          <p:cNvPr id="30" name="Прямая со стрелкой 34">
            <a:extLst>
              <a:ext uri="{FF2B5EF4-FFF2-40B4-BE49-F238E27FC236}">
                <a16:creationId xmlns:a16="http://schemas.microsoft.com/office/drawing/2014/main" id="{4B2B617D-2EAF-0F4F-AE9D-52B458D7A3A1}"/>
              </a:ext>
            </a:extLst>
          </p:cNvPr>
          <p:cNvCxnSpPr>
            <a:cxnSpLocks/>
            <a:endCxn id="80" idx="3"/>
          </p:cNvCxnSpPr>
          <p:nvPr/>
        </p:nvCxnSpPr>
        <p:spPr bwMode="auto">
          <a:xfrm flipV="1">
            <a:off x="4460763" y="1696451"/>
            <a:ext cx="3674" cy="15242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2C76F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575399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34E30DC-6174-8043-9E45-C6539E8545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58619"/>
            <a:ext cx="7886700" cy="994172"/>
          </a:xfrm>
        </p:spPr>
        <p:txBody>
          <a:bodyPr anchor="t">
            <a:normAutofit/>
          </a:bodyPr>
          <a:lstStyle/>
          <a:p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Технологический стек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055710-F1F8-144D-9C01-BC5E70EBC2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44" t="22942" r="3274" b="5069"/>
          <a:stretch/>
        </p:blipFill>
        <p:spPr>
          <a:xfrm>
            <a:off x="468313" y="1284435"/>
            <a:ext cx="7631605" cy="3839213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B5BF8484-00FA-3643-B0E8-A98C45A877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59246" y="251616"/>
            <a:ext cx="392117" cy="39211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D2D38FC-75A2-2A44-B114-332B66C64EE8}"/>
              </a:ext>
            </a:extLst>
          </p:cNvPr>
          <p:cNvSpPr txBox="1"/>
          <p:nvPr/>
        </p:nvSpPr>
        <p:spPr>
          <a:xfrm>
            <a:off x="8851363" y="4755754"/>
            <a:ext cx="2824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42C76F"/>
                </a:solidFill>
              </a:rPr>
              <a:t>4</a:t>
            </a:r>
            <a:endParaRPr lang="ru-RU" dirty="0">
              <a:solidFill>
                <a:srgbClr val="42C7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6759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35917-9474-AE48-B5B3-E8D3F0BFD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47675"/>
            <a:ext cx="7886700" cy="87874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Каталог данных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9592B2-FE4D-1446-AC2D-B424672E79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326416"/>
            <a:ext cx="7886700" cy="3429337"/>
          </a:xfrm>
          <a:effectLst/>
        </p:spPr>
        <p:txBody>
          <a:bodyPr vert="horz" lIns="0" tIns="0" rIns="0" bIns="0" rtlCol="0"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Каталог данных - централизованный источник о данных компании, инструмент хранения, описания и агрегации информации о состояния данных компании</a:t>
            </a:r>
          </a:p>
          <a:p>
            <a:pPr>
              <a:buFont typeface="Wingdings" panose="05000000000000000000" pitchFamily="2" charset="2"/>
              <a:buChar char="§"/>
            </a:pPr>
            <a:endParaRPr lang="ru-RU" sz="2000" dirty="0">
              <a:solidFill>
                <a:schemeClr val="bg1"/>
              </a:solidFill>
              <a:latin typeface="IBM PLEX MONO" panose="020B0509050203000203" pitchFamily="49" charset="-52"/>
            </a:endParaRPr>
          </a:p>
          <a:p>
            <a:pPr marL="0" indent="0">
              <a:buNone/>
            </a:pPr>
            <a:r>
              <a:rPr lang="ru-RU" sz="1600" dirty="0">
                <a:solidFill>
                  <a:srgbClr val="42C76F"/>
                </a:solidFill>
                <a:latin typeface="IBM PLEX MONO" panose="020B0509050203000203" pitchFamily="49" charset="-52"/>
              </a:rPr>
              <a:t>Классические задачи </a:t>
            </a: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Каталога данных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Ведение глоссария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Каталогизация данных систем и сервисов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Ведение </a:t>
            </a:r>
            <a:r>
              <a:rPr lang="en-US" sz="1600" dirty="0">
                <a:solidFill>
                  <a:schemeClr val="bg1"/>
                </a:solidFill>
              </a:rPr>
              <a:t>data lineage</a:t>
            </a:r>
            <a:endParaRPr lang="ru-RU" sz="1600" dirty="0">
              <a:solidFill>
                <a:schemeClr val="bg1"/>
              </a:solidFill>
              <a:latin typeface="IBM PLEX MONO" panose="020B0509050203000203" pitchFamily="49" charset="-52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Профилирование данных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Поиск информации в каталоге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Ведение качества данных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EAAB1F7-C4FE-3443-B960-FBC6D650EE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9246" y="251616"/>
            <a:ext cx="392117" cy="3921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54624AE-8FCE-4543-8E36-EDDDA6FAFEB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0684"/>
          <a:stretch/>
        </p:blipFill>
        <p:spPr>
          <a:xfrm>
            <a:off x="4392613" y="1963934"/>
            <a:ext cx="4751387" cy="28398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D1097CA-F2A4-B047-8D0E-E95F1D6971BC}"/>
              </a:ext>
            </a:extLst>
          </p:cNvPr>
          <p:cNvSpPr txBox="1"/>
          <p:nvPr/>
        </p:nvSpPr>
        <p:spPr>
          <a:xfrm>
            <a:off x="8851363" y="4755754"/>
            <a:ext cx="2824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42C76F"/>
                </a:solidFill>
              </a:rPr>
              <a:t>5</a:t>
            </a:r>
            <a:endParaRPr lang="ru-RU" dirty="0">
              <a:solidFill>
                <a:srgbClr val="42C7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070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BE9C9-D453-0642-909E-B4DD4CA86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47675"/>
            <a:ext cx="7886700" cy="994172"/>
          </a:xfrm>
        </p:spPr>
        <p:txBody>
          <a:bodyPr anchor="t">
            <a:normAutofit/>
          </a:bodyPr>
          <a:lstStyle/>
          <a:p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Пройденные нами этапы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105087-501A-3B45-8405-D085C1A030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492250"/>
            <a:ext cx="3887787" cy="3263504"/>
          </a:xfrm>
          <a:effectLst/>
        </p:spPr>
        <p:txBody>
          <a:bodyPr vert="horz" lIns="0" tIns="0" rIns="0" bIns="0" rtlCol="0"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ru-RU" sz="1600" dirty="0">
                <a:solidFill>
                  <a:srgbClr val="42C76F"/>
                </a:solidFill>
                <a:latin typeface="IBM PLEX MONO" panose="020B0509050203000203" pitchFamily="49" charset="-52"/>
              </a:rPr>
              <a:t>Запуск</a:t>
            </a: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 платформы и </a:t>
            </a:r>
            <a:r>
              <a:rPr lang="ru-RU" sz="1600" dirty="0">
                <a:solidFill>
                  <a:srgbClr val="42C76F"/>
                </a:solidFill>
                <a:latin typeface="IBM PLEX MONO" panose="020B0509050203000203" pitchFamily="49" charset="-52"/>
              </a:rPr>
              <a:t>поиск</a:t>
            </a: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 эффектов</a:t>
            </a:r>
          </a:p>
          <a:p>
            <a:pPr marL="514350" lvl="2">
              <a:spcBef>
                <a:spcPts val="75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Часть компонентов платформы развернуто</a:t>
            </a:r>
          </a:p>
          <a:p>
            <a:pPr marL="514350" lvl="2">
              <a:spcBef>
                <a:spcPts val="75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Работы команд не систематизированы</a:t>
            </a:r>
          </a:p>
          <a:p>
            <a:pPr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/>
              </a:solidFill>
              <a:latin typeface="IBM PLEX MONO" panose="020B0509050203000203" pitchFamily="49" charset="-52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ru-RU" sz="1600" dirty="0">
                <a:solidFill>
                  <a:srgbClr val="42C76F"/>
                </a:solidFill>
                <a:latin typeface="IBM PLEX MONO" panose="020B0509050203000203" pitchFamily="49" charset="-52"/>
              </a:rPr>
              <a:t>Стабилизация</a:t>
            </a:r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 процессов </a:t>
            </a:r>
          </a:p>
          <a:p>
            <a:pPr lvl="1"/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Компоненты платформы развернуты, их взаимодействие стабильно </a:t>
            </a:r>
          </a:p>
          <a:p>
            <a:pPr lvl="1"/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Выстроены процессы работы дата- офиса</a:t>
            </a:r>
          </a:p>
          <a:p>
            <a:pPr lvl="1"/>
            <a:r>
              <a:rPr lang="ru-RU" sz="1600" dirty="0">
                <a:solidFill>
                  <a:schemeClr val="bg1"/>
                </a:solidFill>
                <a:latin typeface="IBM PLEX MONO" panose="020B0509050203000203" pitchFamily="49" charset="-52"/>
              </a:rPr>
              <a:t>Запущен процесс фиксации результатов работ в Каталоге данных</a:t>
            </a:r>
          </a:p>
          <a:p>
            <a:pPr lvl="1"/>
            <a:endParaRPr lang="ru-RU" sz="1600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6FD6E7E-E595-3C44-A260-82969257DE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9246" y="251616"/>
            <a:ext cx="392117" cy="39211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B2B045C-9E2B-814E-B8BB-9EDEC0894A29}"/>
              </a:ext>
            </a:extLst>
          </p:cNvPr>
          <p:cNvSpPr txBox="1"/>
          <p:nvPr/>
        </p:nvSpPr>
        <p:spPr>
          <a:xfrm>
            <a:off x="8851363" y="4755754"/>
            <a:ext cx="28245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42C76F"/>
                </a:solidFill>
              </a:rPr>
              <a:t>6</a:t>
            </a:r>
            <a:endParaRPr lang="ru-RU" dirty="0">
              <a:solidFill>
                <a:srgbClr val="42C76F"/>
              </a:solidFill>
            </a:endParaRPr>
          </a:p>
          <a:p>
            <a:endParaRPr lang="ru-RU" dirty="0">
              <a:solidFill>
                <a:srgbClr val="42C76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B4C1DC-4569-0245-A4BF-222D025FAF4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0717"/>
          <a:stretch/>
        </p:blipFill>
        <p:spPr>
          <a:xfrm>
            <a:off x="4389121" y="1973582"/>
            <a:ext cx="4754880" cy="2830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269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CC9307-70C2-F246-A29E-4A7571E2E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59805"/>
            <a:ext cx="7886700" cy="994172"/>
          </a:xfrm>
        </p:spPr>
        <p:txBody>
          <a:bodyPr anchor="t">
            <a:normAutofit/>
          </a:bodyPr>
          <a:lstStyle/>
          <a:p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Вызовы этапа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1EA8E6-82E5-7A45-AEA3-CC3144F06C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683168"/>
            <a:ext cx="3746335" cy="2810895"/>
          </a:xfrm>
          <a:effectLst/>
        </p:spPr>
        <p:txBody>
          <a:bodyPr vert="horz" lIns="0" tIns="0" rIns="0" bIns="0" rtlCol="0"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ru-RU" sz="2000" dirty="0">
                <a:solidFill>
                  <a:srgbClr val="42C76F"/>
                </a:solidFill>
                <a:latin typeface="IBM PLEX MONO" panose="020B0509050203000203" pitchFamily="49" charset="-52"/>
              </a:rPr>
              <a:t>Длительные и сложные</a:t>
            </a: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процессы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ru-RU" sz="2000" dirty="0">
                <a:solidFill>
                  <a:srgbClr val="42C76F"/>
                </a:solidFill>
                <a:latin typeface="IBM PLEX MONO" panose="020B0509050203000203" pitchFamily="49" charset="-52"/>
              </a:rPr>
              <a:t>Большой объем</a:t>
            </a: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инструкций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ru-RU" sz="2000" dirty="0">
                <a:solidFill>
                  <a:srgbClr val="42C76F"/>
                </a:solidFill>
                <a:latin typeface="IBM PLEX MONO" panose="020B0509050203000203" pitchFamily="49" charset="-52"/>
              </a:rPr>
              <a:t>Множество</a:t>
            </a: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интерфейсов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ru-RU" sz="2000" dirty="0">
                <a:solidFill>
                  <a:srgbClr val="42C76F"/>
                </a:solidFill>
                <a:latin typeface="IBM PLEX MONO" panose="020B0509050203000203" pitchFamily="49" charset="-52"/>
              </a:rPr>
              <a:t>Сложный</a:t>
            </a: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ru-RU" sz="2000" dirty="0" err="1">
                <a:solidFill>
                  <a:schemeClr val="bg1"/>
                </a:solidFill>
                <a:latin typeface="IBM PLEX MONO" panose="020B0509050203000203" pitchFamily="49" charset="-52"/>
              </a:rPr>
              <a:t>онбординг</a:t>
            </a: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нового специалиста</a:t>
            </a:r>
            <a:endParaRPr lang="en-US" sz="20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ru-RU" sz="2000" dirty="0">
                <a:solidFill>
                  <a:srgbClr val="42C76F"/>
                </a:solidFill>
                <a:latin typeface="IBM PLEX MONO" panose="020B0509050203000203" pitchFamily="49" charset="-52"/>
              </a:rPr>
              <a:t>Длительное</a:t>
            </a: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получения доступа к данным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9CD4315-2771-A341-AE94-22B1F6C16F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9246" y="251616"/>
            <a:ext cx="392117" cy="3921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8CEE131-90D2-E546-9888-343C7035A0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2613" y="1984601"/>
            <a:ext cx="4751386" cy="280763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0D7613-F7B5-A94F-8849-35FB6F86F7B8}"/>
              </a:ext>
            </a:extLst>
          </p:cNvPr>
          <p:cNvSpPr txBox="1"/>
          <p:nvPr/>
        </p:nvSpPr>
        <p:spPr>
          <a:xfrm>
            <a:off x="8851363" y="4755754"/>
            <a:ext cx="2824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42C76F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410829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983CF3-C491-844D-9239-999D09C3A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47675"/>
            <a:ext cx="7886700" cy="994172"/>
          </a:xfrm>
        </p:spPr>
        <p:txBody>
          <a:bodyPr vert="horz" lIns="91440" tIns="45720" rIns="91440" bIns="45720" rtlCol="0" anchor="t">
            <a:normAutofit fontScale="90000"/>
          </a:bodyPr>
          <a:lstStyle/>
          <a:p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Процессы, переводимые в Каталог данных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A382A57-9C45-0D4F-A6D8-313CA7B37B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9246" y="251616"/>
            <a:ext cx="392117" cy="392117"/>
          </a:xfrm>
          <a:prstGeom prst="rect">
            <a:avLst/>
          </a:prstGeom>
        </p:spPr>
      </p:pic>
      <p:sp>
        <p:nvSpPr>
          <p:cNvPr id="11" name="Terminator 10">
            <a:extLst>
              <a:ext uri="{FF2B5EF4-FFF2-40B4-BE49-F238E27FC236}">
                <a16:creationId xmlns:a16="http://schemas.microsoft.com/office/drawing/2014/main" id="{06112824-57A2-3F4D-9716-7565BD628F29}"/>
              </a:ext>
            </a:extLst>
          </p:cNvPr>
          <p:cNvSpPr/>
          <p:nvPr/>
        </p:nvSpPr>
        <p:spPr>
          <a:xfrm>
            <a:off x="6097003" y="3958412"/>
            <a:ext cx="1218198" cy="562972"/>
          </a:xfrm>
          <a:prstGeom prst="flowChartTermina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2B5EE4-74DA-EB41-B30D-F4647F23F9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6516" y="4073265"/>
            <a:ext cx="1022889" cy="337448"/>
          </a:xfrm>
          <a:prstGeom prst="rect">
            <a:avLst/>
          </a:prstGeom>
        </p:spPr>
      </p:pic>
      <p:sp>
        <p:nvSpPr>
          <p:cNvPr id="13" name="Terminator 12">
            <a:extLst>
              <a:ext uri="{FF2B5EF4-FFF2-40B4-BE49-F238E27FC236}">
                <a16:creationId xmlns:a16="http://schemas.microsoft.com/office/drawing/2014/main" id="{CD1AF5DB-98BB-D643-A12F-09E83647D025}"/>
              </a:ext>
            </a:extLst>
          </p:cNvPr>
          <p:cNvSpPr/>
          <p:nvPr/>
        </p:nvSpPr>
        <p:spPr>
          <a:xfrm>
            <a:off x="4451083" y="3673644"/>
            <a:ext cx="1218198" cy="562972"/>
          </a:xfrm>
          <a:prstGeom prst="flowChartTermina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C45217-A128-C54D-9D70-5A1802E41F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67649" y="3745139"/>
            <a:ext cx="1011051" cy="462891"/>
          </a:xfrm>
          <a:prstGeom prst="rect">
            <a:avLst/>
          </a:prstGeom>
        </p:spPr>
      </p:pic>
      <p:sp>
        <p:nvSpPr>
          <p:cNvPr id="25" name="Terminator 24">
            <a:extLst>
              <a:ext uri="{FF2B5EF4-FFF2-40B4-BE49-F238E27FC236}">
                <a16:creationId xmlns:a16="http://schemas.microsoft.com/office/drawing/2014/main" id="{8ED488D1-0022-8A47-A05A-6E6C5463491C}"/>
              </a:ext>
            </a:extLst>
          </p:cNvPr>
          <p:cNvSpPr/>
          <p:nvPr/>
        </p:nvSpPr>
        <p:spPr>
          <a:xfrm>
            <a:off x="5844451" y="2724475"/>
            <a:ext cx="1653627" cy="562972"/>
          </a:xfrm>
          <a:prstGeom prst="flowChartTermina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rminator 25">
            <a:extLst>
              <a:ext uri="{FF2B5EF4-FFF2-40B4-BE49-F238E27FC236}">
                <a16:creationId xmlns:a16="http://schemas.microsoft.com/office/drawing/2014/main" id="{B8A6956B-5C63-754F-BF40-69DBEA20F8A6}"/>
              </a:ext>
            </a:extLst>
          </p:cNvPr>
          <p:cNvSpPr/>
          <p:nvPr/>
        </p:nvSpPr>
        <p:spPr>
          <a:xfrm>
            <a:off x="7583681" y="3671877"/>
            <a:ext cx="1218198" cy="562972"/>
          </a:xfrm>
          <a:prstGeom prst="flowChartTermina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7539A8E-6112-3545-B25F-C828E25606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77808" y="3710083"/>
            <a:ext cx="881293" cy="484420"/>
          </a:xfrm>
          <a:prstGeom prst="rect">
            <a:avLst/>
          </a:prstGeom>
        </p:spPr>
      </p:pic>
      <p:sp>
        <p:nvSpPr>
          <p:cNvPr id="28" name="Terminator 27">
            <a:extLst>
              <a:ext uri="{FF2B5EF4-FFF2-40B4-BE49-F238E27FC236}">
                <a16:creationId xmlns:a16="http://schemas.microsoft.com/office/drawing/2014/main" id="{7408A395-4A9B-7746-9754-578C9F08DE15}"/>
              </a:ext>
            </a:extLst>
          </p:cNvPr>
          <p:cNvSpPr/>
          <p:nvPr/>
        </p:nvSpPr>
        <p:spPr>
          <a:xfrm>
            <a:off x="4451083" y="1821526"/>
            <a:ext cx="1218198" cy="562972"/>
          </a:xfrm>
          <a:prstGeom prst="flowChartTermina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rminator 28">
            <a:extLst>
              <a:ext uri="{FF2B5EF4-FFF2-40B4-BE49-F238E27FC236}">
                <a16:creationId xmlns:a16="http://schemas.microsoft.com/office/drawing/2014/main" id="{AA561ACB-A981-694C-B263-A0468B8AE04E}"/>
              </a:ext>
            </a:extLst>
          </p:cNvPr>
          <p:cNvSpPr/>
          <p:nvPr/>
        </p:nvSpPr>
        <p:spPr>
          <a:xfrm>
            <a:off x="4263846" y="2735228"/>
            <a:ext cx="1218198" cy="562972"/>
          </a:xfrm>
          <a:prstGeom prst="flowChartTermina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rminator 29">
            <a:extLst>
              <a:ext uri="{FF2B5EF4-FFF2-40B4-BE49-F238E27FC236}">
                <a16:creationId xmlns:a16="http://schemas.microsoft.com/office/drawing/2014/main" id="{0ED08EE3-BC5D-6D4B-9D26-16D76AC98644}"/>
              </a:ext>
            </a:extLst>
          </p:cNvPr>
          <p:cNvSpPr/>
          <p:nvPr/>
        </p:nvSpPr>
        <p:spPr>
          <a:xfrm>
            <a:off x="7764691" y="2721458"/>
            <a:ext cx="1218198" cy="562972"/>
          </a:xfrm>
          <a:prstGeom prst="flowChartTermina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rminator 30">
            <a:extLst>
              <a:ext uri="{FF2B5EF4-FFF2-40B4-BE49-F238E27FC236}">
                <a16:creationId xmlns:a16="http://schemas.microsoft.com/office/drawing/2014/main" id="{754D74F0-7FFC-674A-BE8F-8AC5036DDEC5}"/>
              </a:ext>
            </a:extLst>
          </p:cNvPr>
          <p:cNvSpPr/>
          <p:nvPr/>
        </p:nvSpPr>
        <p:spPr>
          <a:xfrm>
            <a:off x="7583681" y="1821526"/>
            <a:ext cx="1218198" cy="562972"/>
          </a:xfrm>
          <a:prstGeom prst="flowChartTermina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rminator 31">
            <a:extLst>
              <a:ext uri="{FF2B5EF4-FFF2-40B4-BE49-F238E27FC236}">
                <a16:creationId xmlns:a16="http://schemas.microsoft.com/office/drawing/2014/main" id="{62EBE6B9-FFD8-9249-BFCD-D485D2F96BC7}"/>
              </a:ext>
            </a:extLst>
          </p:cNvPr>
          <p:cNvSpPr/>
          <p:nvPr/>
        </p:nvSpPr>
        <p:spPr>
          <a:xfrm>
            <a:off x="6097003" y="1501925"/>
            <a:ext cx="1218198" cy="562972"/>
          </a:xfrm>
          <a:prstGeom prst="flowChartTermina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2D63AE5-3A7D-C446-A567-7B3B97ED1F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7826" y="2815946"/>
            <a:ext cx="1014983" cy="38692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4596100-C349-EC4D-BF60-15AFA3F979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37321" y="1906644"/>
            <a:ext cx="916905" cy="37940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335E46A-0CAD-DB4F-B015-85C5EAA884D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28607" y="2863114"/>
            <a:ext cx="1471451" cy="265525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39E5957-2693-D749-BA6A-B8EB6DED964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3214" b="24188"/>
          <a:stretch/>
        </p:blipFill>
        <p:spPr>
          <a:xfrm>
            <a:off x="6179320" y="1621478"/>
            <a:ext cx="1066212" cy="31404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62D66630-E70B-A343-85C9-9A531548E5F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50630" y="1895360"/>
            <a:ext cx="925889" cy="390693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FA5F121D-6463-3D4A-99AE-EB0BB49F4229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2115" t="26137" r="9900" b="20497"/>
          <a:stretch/>
        </p:blipFill>
        <p:spPr>
          <a:xfrm>
            <a:off x="7830937" y="2855418"/>
            <a:ext cx="1119718" cy="292096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0C59F119-264F-664D-8CCC-A7CF4F2168AA}"/>
              </a:ext>
            </a:extLst>
          </p:cNvPr>
          <p:cNvSpPr/>
          <p:nvPr/>
        </p:nvSpPr>
        <p:spPr>
          <a:xfrm>
            <a:off x="500287" y="2845028"/>
            <a:ext cx="376329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Создание </a:t>
            </a:r>
            <a:r>
              <a:rPr lang="en-US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DDL </a:t>
            </a: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и </a:t>
            </a:r>
            <a:r>
              <a:rPr lang="en-US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DML </a:t>
            </a: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в </a:t>
            </a:r>
            <a:r>
              <a:rPr lang="en-US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DWH</a:t>
            </a: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(</a:t>
            </a:r>
            <a:r>
              <a:rPr lang="en-US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Stg, ODS, DDS, BDS,</a:t>
            </a: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</a:t>
            </a:r>
            <a:r>
              <a:rPr lang="en-US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CDS) </a:t>
            </a:r>
            <a:endParaRPr lang="en-US" sz="18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Управление потоками данных</a:t>
            </a:r>
            <a:endParaRPr lang="en-US" sz="1800" dirty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Ролевая модель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Внутренний документооборот дата-офиса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856C2E6-6BB6-0B40-977B-5AD88D382B66}"/>
              </a:ext>
            </a:extLst>
          </p:cNvPr>
          <p:cNvSpPr txBox="1"/>
          <p:nvPr/>
        </p:nvSpPr>
        <p:spPr>
          <a:xfrm>
            <a:off x="500287" y="1330960"/>
            <a:ext cx="41370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Каталог данных - </a:t>
            </a:r>
            <a:r>
              <a:rPr lang="ru-RU" sz="1800" dirty="0">
                <a:solidFill>
                  <a:srgbClr val="42C76F"/>
                </a:solidFill>
                <a:latin typeface="IBM PLEX MONO" panose="020B0509050203000203" pitchFamily="49" charset="-52"/>
              </a:rPr>
              <a:t>инструмент автоматизации</a:t>
            </a:r>
            <a:r>
              <a:rPr lang="ru-RU" sz="1800" dirty="0">
                <a:solidFill>
                  <a:schemeClr val="bg1"/>
                </a:solidFill>
                <a:latin typeface="IBM PLEX MONO" panose="020B0509050203000203" pitchFamily="49" charset="-52"/>
              </a:rPr>
              <a:t> деятельности дата-офиса и основной интерфейс управления внутренними процессами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FC1524C-8078-D944-A9CC-A1B521D6FA2F}"/>
              </a:ext>
            </a:extLst>
          </p:cNvPr>
          <p:cNvSpPr txBox="1"/>
          <p:nvPr/>
        </p:nvSpPr>
        <p:spPr>
          <a:xfrm>
            <a:off x="8851363" y="4755754"/>
            <a:ext cx="2824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42C76F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8571296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4CAAF-4835-334B-A7BE-632DE92A6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447675"/>
            <a:ext cx="7886700" cy="99417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b="1" dirty="0">
                <a:solidFill>
                  <a:srgbClr val="42C76F"/>
                </a:solidFill>
                <a:latin typeface="IBM Plex Mono" panose="020B0509050203000203" pitchFamily="49" charset="-52"/>
              </a:rPr>
              <a:t>Особенности реализации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AFA27A-DB34-3649-8987-1624A76CB2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492250"/>
            <a:ext cx="3887787" cy="3263504"/>
          </a:xfrm>
          <a:effectLst/>
        </p:spPr>
        <p:txBody>
          <a:bodyPr vert="horz" lIns="0" tIns="0" rIns="0" bIns="0" rtlCol="0"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Реализация через </a:t>
            </a:r>
            <a:r>
              <a:rPr lang="ru-RU" sz="2000" dirty="0" err="1">
                <a:solidFill>
                  <a:schemeClr val="bg1"/>
                </a:solidFill>
                <a:latin typeface="IBM PLEX MONO" panose="020B0509050203000203" pitchFamily="49" charset="-52"/>
              </a:rPr>
              <a:t>микросервисную</a:t>
            </a: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 архитектуру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Каталог данных - источник данных для </a:t>
            </a:r>
            <a:r>
              <a:rPr lang="ru-RU" sz="2000" dirty="0" err="1">
                <a:solidFill>
                  <a:schemeClr val="bg1"/>
                </a:solidFill>
                <a:latin typeface="IBM PLEX MONO" panose="020B0509050203000203" pitchFamily="49" charset="-52"/>
              </a:rPr>
              <a:t>микросервисов</a:t>
            </a:r>
            <a:endParaRPr lang="ru-RU" sz="2000" dirty="0">
              <a:solidFill>
                <a:schemeClr val="bg1"/>
              </a:solidFill>
              <a:latin typeface="IBM PLEX MONO" panose="020B0509050203000203" pitchFamily="49" charset="-52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Возможность параллельной реализации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  <a:latin typeface="IBM PLEX MONO" panose="020B0509050203000203" pitchFamily="49" charset="-52"/>
              </a:rPr>
              <a:t>Независимость от единственного </a:t>
            </a:r>
            <a:r>
              <a:rPr lang="ru-RU" sz="2000" dirty="0" err="1">
                <a:solidFill>
                  <a:schemeClr val="bg1"/>
                </a:solidFill>
                <a:latin typeface="IBM PLEX MONO" panose="020B0509050203000203" pitchFamily="49" charset="-52"/>
              </a:rPr>
              <a:t>вендора</a:t>
            </a:r>
            <a:endParaRPr lang="ru-RU" sz="2000" dirty="0">
              <a:solidFill>
                <a:schemeClr val="bg1"/>
              </a:solidFill>
              <a:latin typeface="IBM PLEX MONO" panose="020B0509050203000203" pitchFamily="49" charset="-52"/>
            </a:endParaRPr>
          </a:p>
          <a:p>
            <a:pPr>
              <a:buFont typeface="Wingdings" panose="05000000000000000000" pitchFamily="2" charset="2"/>
              <a:buChar char="§"/>
            </a:pPr>
            <a:endParaRPr lang="ru-RU" sz="2000" dirty="0">
              <a:solidFill>
                <a:schemeClr val="bg1"/>
              </a:solidFill>
              <a:latin typeface="IBM PLEX MONO" panose="020B0509050203000203" pitchFamily="49" charset="-52"/>
            </a:endParaRPr>
          </a:p>
          <a:p>
            <a:pPr>
              <a:buFont typeface="Wingdings" panose="05000000000000000000" pitchFamily="2" charset="2"/>
              <a:buChar char="§"/>
            </a:pPr>
            <a:endParaRPr lang="ru-RU" sz="2000" dirty="0">
              <a:solidFill>
                <a:schemeClr val="bg1"/>
              </a:solidFill>
              <a:latin typeface="IBM PLEX MONO" panose="020B0509050203000203" pitchFamily="49" charset="-52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3A4912A-85F1-E244-BD90-719E559142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59246" y="251616"/>
            <a:ext cx="392117" cy="39211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231B2EC-074B-7B43-A585-633BD4FAB2C9}"/>
              </a:ext>
            </a:extLst>
          </p:cNvPr>
          <p:cNvSpPr txBox="1"/>
          <p:nvPr/>
        </p:nvSpPr>
        <p:spPr>
          <a:xfrm>
            <a:off x="8851363" y="4755754"/>
            <a:ext cx="28245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42C76F"/>
                </a:solidFill>
              </a:rPr>
              <a:t>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3CA3E8-653D-8D44-9291-A27E1D0C253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162" r="15780" b="9793"/>
          <a:stretch/>
        </p:blipFill>
        <p:spPr>
          <a:xfrm>
            <a:off x="4356100" y="1698500"/>
            <a:ext cx="4777713" cy="3107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439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5B72517F-AA38-47A4-932C-FA668E096836}" vid="{07E21B4A-3649-473F-ADBF-387E80862A45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7B83130-DE68-4CA1-95EB-2442DD47DB32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1148018-2C53-40A7-BFBE-D7ECC5407A4A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F845C98A-4E43-4E5E-BFF6-99D3EF316209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2455C501-D363-4A65-A072-FBA95366F13F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15C9956A-3952-4E3C-8C19-320BBFA043C4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111</TotalTime>
  <Words>376</Words>
  <Application>Microsoft Macintosh PowerPoint</Application>
  <PresentationFormat>On-screen Show (16:9)</PresentationFormat>
  <Paragraphs>86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7" baseType="lpstr">
      <vt:lpstr>Arial</vt:lpstr>
      <vt:lpstr>Calibri</vt:lpstr>
      <vt:lpstr>Calibri Light</vt:lpstr>
      <vt:lpstr>IBM Plex Mono</vt:lpstr>
      <vt:lpstr>IBM Plex Mono</vt:lpstr>
      <vt:lpstr>Roboto</vt:lpstr>
      <vt:lpstr>Roboto Slab</vt:lpstr>
      <vt:lpstr>Wingdings</vt:lpstr>
      <vt:lpstr>Default Theme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Тема Office</vt:lpstr>
      <vt:lpstr>Слайд think-cell</vt:lpstr>
      <vt:lpstr>Дата-каталог как единая точка входа в дата-платформу</vt:lpstr>
      <vt:lpstr>Что такое дата-платформа и что еще бывает?</vt:lpstr>
      <vt:lpstr>Основные элементы хранения данных</vt:lpstr>
      <vt:lpstr>Технологический стек</vt:lpstr>
      <vt:lpstr>Каталог данных</vt:lpstr>
      <vt:lpstr>Пройденные нами этапы </vt:lpstr>
      <vt:lpstr>Вызовы этапа</vt:lpstr>
      <vt:lpstr>Процессы, переводимые в Каталог данных</vt:lpstr>
      <vt:lpstr>Особенности реализации</vt:lpstr>
      <vt:lpstr>Основные достижения на текущий момент</vt:lpstr>
      <vt:lpstr>PowerPoint Presentation</vt:lpstr>
    </vt:vector>
  </TitlesOfParts>
  <Company>SIBUR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одель данных детального слоя хранилища</dc:title>
  <dc:creator>Гилядова Вероника Леонидовна</dc:creator>
  <cp:lastModifiedBy>Microsoft Office User</cp:lastModifiedBy>
  <cp:revision>182</cp:revision>
  <dcterms:created xsi:type="dcterms:W3CDTF">2023-08-08T06:47:40Z</dcterms:created>
  <dcterms:modified xsi:type="dcterms:W3CDTF">2023-10-30T06:48:12Z</dcterms:modified>
</cp:coreProperties>
</file>